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  <p:sldMasterId id="2147483727" r:id="rId5"/>
  </p:sldMasterIdLst>
  <p:notesMasterIdLst>
    <p:notesMasterId r:id="rId15"/>
  </p:notesMasterIdLst>
  <p:handoutMasterIdLst>
    <p:handoutMasterId r:id="rId16"/>
  </p:handoutMasterIdLst>
  <p:sldIdLst>
    <p:sldId id="256" r:id="rId6"/>
    <p:sldId id="258" r:id="rId7"/>
    <p:sldId id="276" r:id="rId8"/>
    <p:sldId id="277" r:id="rId9"/>
    <p:sldId id="265" r:id="rId10"/>
    <p:sldId id="279" r:id="rId11"/>
    <p:sldId id="278" r:id="rId12"/>
    <p:sldId id="280" r:id="rId13"/>
    <p:sldId id="275" r:id="rId14"/>
  </p:sldIdLst>
  <p:sldSz cx="12192000" cy="6858000"/>
  <p:notesSz cx="6858000" cy="9144000"/>
  <p:embeddedFontLst>
    <p:embeddedFont>
      <p:font typeface="Helvetica" panose="020B0604020202020204" pitchFamily="34" charset="0"/>
      <p:regular r:id="rId17"/>
      <p:bold r:id="rId18"/>
      <p:italic r:id="rId19"/>
      <p:boldItalic r:id="rId20"/>
    </p:embeddedFont>
    <p:embeddedFont>
      <p:font typeface="Inter" panose="02000503000000020004" pitchFamily="2" charset="0"/>
      <p:regular r:id="rId21"/>
      <p:bold r:id="rId22"/>
    </p:embeddedFont>
    <p:embeddedFont>
      <p:font typeface="Inter Light" panose="02000503000000020004" pitchFamily="2" charset="0"/>
      <p:regular r:id="rId23"/>
    </p:embeddedFont>
    <p:embeddedFont>
      <p:font typeface="Inter SemiBold" panose="02000503000000020004" pitchFamily="2" charset="0"/>
      <p:regular r:id="rId24"/>
      <p:bold r:id="rId2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6F09158-59DF-4F28-99A7-4B2EBA7FF086}">
          <p14:sldIdLst>
            <p14:sldId id="256"/>
          </p14:sldIdLst>
        </p14:section>
        <p14:section name="In-app Merge" id="{D057D60F-5A80-42F7-B1B9-AF8AD79673D3}">
          <p14:sldIdLst>
            <p14:sldId id="258"/>
            <p14:sldId id="276"/>
            <p14:sldId id="277"/>
          </p14:sldIdLst>
        </p14:section>
        <p14:section name="QVD Merge" id="{7F4E0677-181F-4542-A01C-BB24308A26DD}">
          <p14:sldIdLst>
            <p14:sldId id="265"/>
            <p14:sldId id="279"/>
            <p14:sldId id="278"/>
          </p14:sldIdLst>
        </p14:section>
        <p14:section name="End" id="{724F081C-8D12-4E06-BBC1-1C8C10BBB365}">
          <p14:sldIdLst>
            <p14:sldId id="280"/>
            <p14:sldId id="27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3D608F"/>
    <a:srgbClr val="19416C"/>
    <a:srgbClr val="A9B3B6"/>
    <a:srgbClr val="009845"/>
    <a:srgbClr val="CCEDEC"/>
    <a:srgbClr val="CBD4D8"/>
    <a:srgbClr val="CCCFD5"/>
    <a:srgbClr val="D0E1E6"/>
    <a:srgbClr val="0065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7F3697-CBB2-4880-AC29-C5B638CF728D}" v="36" dt="2024-03-28T09:50:31.176"/>
    <p1510:client id="{8889C446-0B59-4A24-8310-5ED01FA36692}" v="13" dt="2024-03-28T11:51:28.029"/>
  </p1510:revLst>
</p1510:revInfo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1" autoAdjust="0"/>
    <p:restoredTop sz="87105" autoAdjust="0"/>
  </p:normalViewPr>
  <p:slideViewPr>
    <p:cSldViewPr snapToGrid="0">
      <p:cViewPr varScale="1">
        <p:scale>
          <a:sx n="105" d="100"/>
          <a:sy n="105" d="100"/>
        </p:scale>
        <p:origin x="1362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92" d="100"/>
          <a:sy n="92" d="100"/>
        </p:scale>
        <p:origin x="3520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2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5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8.fntdata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7.fntdata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font" Target="fonts/font3.fntdata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6.fntdata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varo Palacios" userId="e9ac1705-629d-48ad-b253-8fdbab2c933d" providerId="ADAL" clId="{347F3697-CBB2-4880-AC29-C5B638CF728D}"/>
    <pc:docChg chg="undo custSel addSld delSld modSld sldOrd addSection delSection modSection">
      <pc:chgData name="Alvaro Palacios" userId="e9ac1705-629d-48ad-b253-8fdbab2c933d" providerId="ADAL" clId="{347F3697-CBB2-4880-AC29-C5B638CF728D}" dt="2024-03-28T09:51:12.095" v="904" actId="1076"/>
      <pc:docMkLst>
        <pc:docMk/>
      </pc:docMkLst>
      <pc:sldChg chg="modSp mod">
        <pc:chgData name="Alvaro Palacios" userId="e9ac1705-629d-48ad-b253-8fdbab2c933d" providerId="ADAL" clId="{347F3697-CBB2-4880-AC29-C5B638CF728D}" dt="2024-03-28T08:18:34.511" v="675" actId="20577"/>
        <pc:sldMkLst>
          <pc:docMk/>
          <pc:sldMk cId="2989408624" sldId="256"/>
        </pc:sldMkLst>
        <pc:spChg chg="mod">
          <ac:chgData name="Alvaro Palacios" userId="e9ac1705-629d-48ad-b253-8fdbab2c933d" providerId="ADAL" clId="{347F3697-CBB2-4880-AC29-C5B638CF728D}" dt="2024-03-27T16:09:09.096" v="666" actId="20577"/>
          <ac:spMkLst>
            <pc:docMk/>
            <pc:sldMk cId="2989408624" sldId="256"/>
            <ac:spMk id="12" creationId="{CFD8C70D-0303-5E88-D7EB-D098CEE30E5F}"/>
          </ac:spMkLst>
        </pc:spChg>
        <pc:spChg chg="mod">
          <ac:chgData name="Alvaro Palacios" userId="e9ac1705-629d-48ad-b253-8fdbab2c933d" providerId="ADAL" clId="{347F3697-CBB2-4880-AC29-C5B638CF728D}" dt="2024-03-28T08:18:34.511" v="675" actId="20577"/>
          <ac:spMkLst>
            <pc:docMk/>
            <pc:sldMk cId="2989408624" sldId="256"/>
            <ac:spMk id="13" creationId="{39970D42-8CD2-8E5B-087D-27816459877E}"/>
          </ac:spMkLst>
        </pc:spChg>
      </pc:sldChg>
      <pc:sldChg chg="modSp mod">
        <pc:chgData name="Alvaro Palacios" userId="e9ac1705-629d-48ad-b253-8fdbab2c933d" providerId="ADAL" clId="{347F3697-CBB2-4880-AC29-C5B638CF728D}" dt="2024-03-27T10:52:57.383" v="203" actId="20577"/>
        <pc:sldMkLst>
          <pc:docMk/>
          <pc:sldMk cId="3876764419" sldId="258"/>
        </pc:sldMkLst>
        <pc:spChg chg="mod">
          <ac:chgData name="Alvaro Palacios" userId="e9ac1705-629d-48ad-b253-8fdbab2c933d" providerId="ADAL" clId="{347F3697-CBB2-4880-AC29-C5B638CF728D}" dt="2024-03-27T10:52:57.383" v="203" actId="20577"/>
          <ac:spMkLst>
            <pc:docMk/>
            <pc:sldMk cId="3876764419" sldId="258"/>
            <ac:spMk id="2" creationId="{A6B813B7-CA25-FE6F-67D2-E8D66E5462A7}"/>
          </ac:spMkLst>
        </pc:spChg>
      </pc:sldChg>
      <pc:sldChg chg="del">
        <pc:chgData name="Alvaro Palacios" userId="e9ac1705-629d-48ad-b253-8fdbab2c933d" providerId="ADAL" clId="{347F3697-CBB2-4880-AC29-C5B638CF728D}" dt="2024-03-27T10:50:20.900" v="0" actId="18676"/>
        <pc:sldMkLst>
          <pc:docMk/>
          <pc:sldMk cId="2382080454" sldId="260"/>
        </pc:sldMkLst>
      </pc:sldChg>
      <pc:sldChg chg="del">
        <pc:chgData name="Alvaro Palacios" userId="e9ac1705-629d-48ad-b253-8fdbab2c933d" providerId="ADAL" clId="{347F3697-CBB2-4880-AC29-C5B638CF728D}" dt="2024-03-27T10:50:20.900" v="0" actId="18676"/>
        <pc:sldMkLst>
          <pc:docMk/>
          <pc:sldMk cId="1120727528" sldId="261"/>
        </pc:sldMkLst>
      </pc:sldChg>
      <pc:sldChg chg="del">
        <pc:chgData name="Alvaro Palacios" userId="e9ac1705-629d-48ad-b253-8fdbab2c933d" providerId="ADAL" clId="{347F3697-CBB2-4880-AC29-C5B638CF728D}" dt="2024-03-27T10:50:32.896" v="2" actId="47"/>
        <pc:sldMkLst>
          <pc:docMk/>
          <pc:sldMk cId="2758463130" sldId="262"/>
        </pc:sldMkLst>
      </pc:sldChg>
      <pc:sldChg chg="del">
        <pc:chgData name="Alvaro Palacios" userId="e9ac1705-629d-48ad-b253-8fdbab2c933d" providerId="ADAL" clId="{347F3697-CBB2-4880-AC29-C5B638CF728D}" dt="2024-03-27T10:50:20.900" v="0" actId="18676"/>
        <pc:sldMkLst>
          <pc:docMk/>
          <pc:sldMk cId="1529928287" sldId="264"/>
        </pc:sldMkLst>
      </pc:sldChg>
      <pc:sldChg chg="modSp mod">
        <pc:chgData name="Alvaro Palacios" userId="e9ac1705-629d-48ad-b253-8fdbab2c933d" providerId="ADAL" clId="{347F3697-CBB2-4880-AC29-C5B638CF728D}" dt="2024-03-27T10:53:06.614" v="213" actId="6549"/>
        <pc:sldMkLst>
          <pc:docMk/>
          <pc:sldMk cId="3894654912" sldId="265"/>
        </pc:sldMkLst>
        <pc:spChg chg="mod">
          <ac:chgData name="Alvaro Palacios" userId="e9ac1705-629d-48ad-b253-8fdbab2c933d" providerId="ADAL" clId="{347F3697-CBB2-4880-AC29-C5B638CF728D}" dt="2024-03-27T10:53:02.262" v="212" actId="20577"/>
          <ac:spMkLst>
            <pc:docMk/>
            <pc:sldMk cId="3894654912" sldId="265"/>
            <ac:spMk id="2" creationId="{8716B2BB-79EF-F3EA-84E2-2F20C3731C05}"/>
          </ac:spMkLst>
        </pc:spChg>
        <pc:spChg chg="mod">
          <ac:chgData name="Alvaro Palacios" userId="e9ac1705-629d-48ad-b253-8fdbab2c933d" providerId="ADAL" clId="{347F3697-CBB2-4880-AC29-C5B638CF728D}" dt="2024-03-27T10:53:06.614" v="213" actId="6549"/>
          <ac:spMkLst>
            <pc:docMk/>
            <pc:sldMk cId="3894654912" sldId="265"/>
            <ac:spMk id="3" creationId="{1CB0F0BC-A418-C4C4-2CFB-496AB8C752C4}"/>
          </ac:spMkLst>
        </pc:spChg>
      </pc:sldChg>
      <pc:sldChg chg="del">
        <pc:chgData name="Alvaro Palacios" userId="e9ac1705-629d-48ad-b253-8fdbab2c933d" providerId="ADAL" clId="{347F3697-CBB2-4880-AC29-C5B638CF728D}" dt="2024-03-27T10:50:28.744" v="1" actId="47"/>
        <pc:sldMkLst>
          <pc:docMk/>
          <pc:sldMk cId="1921818982" sldId="266"/>
        </pc:sldMkLst>
      </pc:sldChg>
      <pc:sldChg chg="del">
        <pc:chgData name="Alvaro Palacios" userId="e9ac1705-629d-48ad-b253-8fdbab2c933d" providerId="ADAL" clId="{347F3697-CBB2-4880-AC29-C5B638CF728D}" dt="2024-03-27T10:50:28.744" v="1" actId="47"/>
        <pc:sldMkLst>
          <pc:docMk/>
          <pc:sldMk cId="1003250838" sldId="267"/>
        </pc:sldMkLst>
      </pc:sldChg>
      <pc:sldChg chg="del">
        <pc:chgData name="Alvaro Palacios" userId="e9ac1705-629d-48ad-b253-8fdbab2c933d" providerId="ADAL" clId="{347F3697-CBB2-4880-AC29-C5B638CF728D}" dt="2024-03-27T10:50:28.744" v="1" actId="47"/>
        <pc:sldMkLst>
          <pc:docMk/>
          <pc:sldMk cId="2801767077" sldId="268"/>
        </pc:sldMkLst>
      </pc:sldChg>
      <pc:sldChg chg="del">
        <pc:chgData name="Alvaro Palacios" userId="e9ac1705-629d-48ad-b253-8fdbab2c933d" providerId="ADAL" clId="{347F3697-CBB2-4880-AC29-C5B638CF728D}" dt="2024-03-27T10:50:28.744" v="1" actId="47"/>
        <pc:sldMkLst>
          <pc:docMk/>
          <pc:sldMk cId="1763837976" sldId="269"/>
        </pc:sldMkLst>
      </pc:sldChg>
      <pc:sldChg chg="del">
        <pc:chgData name="Alvaro Palacios" userId="e9ac1705-629d-48ad-b253-8fdbab2c933d" providerId="ADAL" clId="{347F3697-CBB2-4880-AC29-C5B638CF728D}" dt="2024-03-27T10:50:28.744" v="1" actId="47"/>
        <pc:sldMkLst>
          <pc:docMk/>
          <pc:sldMk cId="1606828070" sldId="270"/>
        </pc:sldMkLst>
      </pc:sldChg>
      <pc:sldChg chg="del">
        <pc:chgData name="Alvaro Palacios" userId="e9ac1705-629d-48ad-b253-8fdbab2c933d" providerId="ADAL" clId="{347F3697-CBB2-4880-AC29-C5B638CF728D}" dt="2024-03-27T10:50:20.900" v="0" actId="18676"/>
        <pc:sldMkLst>
          <pc:docMk/>
          <pc:sldMk cId="2903720252" sldId="271"/>
        </pc:sldMkLst>
      </pc:sldChg>
      <pc:sldChg chg="del">
        <pc:chgData name="Alvaro Palacios" userId="e9ac1705-629d-48ad-b253-8fdbab2c933d" providerId="ADAL" clId="{347F3697-CBB2-4880-AC29-C5B638CF728D}" dt="2024-03-27T10:50:20.900" v="0" actId="18676"/>
        <pc:sldMkLst>
          <pc:docMk/>
          <pc:sldMk cId="2540540776" sldId="272"/>
        </pc:sldMkLst>
      </pc:sldChg>
      <pc:sldChg chg="del">
        <pc:chgData name="Alvaro Palacios" userId="e9ac1705-629d-48ad-b253-8fdbab2c933d" providerId="ADAL" clId="{347F3697-CBB2-4880-AC29-C5B638CF728D}" dt="2024-03-27T10:50:20.900" v="0" actId="18676"/>
        <pc:sldMkLst>
          <pc:docMk/>
          <pc:sldMk cId="2976688236" sldId="273"/>
        </pc:sldMkLst>
      </pc:sldChg>
      <pc:sldChg chg="del">
        <pc:chgData name="Alvaro Palacios" userId="e9ac1705-629d-48ad-b253-8fdbab2c933d" providerId="ADAL" clId="{347F3697-CBB2-4880-AC29-C5B638CF728D}" dt="2024-03-27T10:50:20.900" v="0" actId="18676"/>
        <pc:sldMkLst>
          <pc:docMk/>
          <pc:sldMk cId="895587977" sldId="274"/>
        </pc:sldMkLst>
      </pc:sldChg>
      <pc:sldChg chg="addSp delSp modSp new mod modClrScheme chgLayout">
        <pc:chgData name="Alvaro Palacios" userId="e9ac1705-629d-48ad-b253-8fdbab2c933d" providerId="ADAL" clId="{347F3697-CBB2-4880-AC29-C5B638CF728D}" dt="2024-03-28T09:51:12.095" v="904" actId="1076"/>
        <pc:sldMkLst>
          <pc:docMk/>
          <pc:sldMk cId="3390875565" sldId="276"/>
        </pc:sldMkLst>
        <pc:spChg chg="del">
          <ac:chgData name="Alvaro Palacios" userId="e9ac1705-629d-48ad-b253-8fdbab2c933d" providerId="ADAL" clId="{347F3697-CBB2-4880-AC29-C5B638CF728D}" dt="2024-03-27T10:53:19.056" v="215" actId="700"/>
          <ac:spMkLst>
            <pc:docMk/>
            <pc:sldMk cId="3390875565" sldId="276"/>
            <ac:spMk id="2" creationId="{8E7B63AA-0F76-18B8-BCB2-F7BD979474BD}"/>
          </ac:spMkLst>
        </pc:spChg>
        <pc:spChg chg="del">
          <ac:chgData name="Alvaro Palacios" userId="e9ac1705-629d-48ad-b253-8fdbab2c933d" providerId="ADAL" clId="{347F3697-CBB2-4880-AC29-C5B638CF728D}" dt="2024-03-27T10:53:19.056" v="215" actId="700"/>
          <ac:spMkLst>
            <pc:docMk/>
            <pc:sldMk cId="3390875565" sldId="276"/>
            <ac:spMk id="3" creationId="{4DCCC2B7-A945-351E-A29D-56C9233CE785}"/>
          </ac:spMkLst>
        </pc:spChg>
        <pc:spChg chg="add mod">
          <ac:chgData name="Alvaro Palacios" userId="e9ac1705-629d-48ad-b253-8fdbab2c933d" providerId="ADAL" clId="{347F3697-CBB2-4880-AC29-C5B638CF728D}" dt="2024-03-27T10:55:17.850" v="269" actId="20577"/>
          <ac:spMkLst>
            <pc:docMk/>
            <pc:sldMk cId="3390875565" sldId="276"/>
            <ac:spMk id="4" creationId="{1769602A-53CB-E8D2-0A9E-D8CE30721846}"/>
          </ac:spMkLst>
        </pc:spChg>
        <pc:spChg chg="add del mod">
          <ac:chgData name="Alvaro Palacios" userId="e9ac1705-629d-48ad-b253-8fdbab2c933d" providerId="ADAL" clId="{347F3697-CBB2-4880-AC29-C5B638CF728D}" dt="2024-03-27T10:54:05.898" v="220" actId="478"/>
          <ac:spMkLst>
            <pc:docMk/>
            <pc:sldMk cId="3390875565" sldId="276"/>
            <ac:spMk id="5" creationId="{FFFC2D5B-3FC2-C37C-9F13-D3BBE5405F4F}"/>
          </ac:spMkLst>
        </pc:spChg>
        <pc:spChg chg="add mod">
          <ac:chgData name="Alvaro Palacios" userId="e9ac1705-629d-48ad-b253-8fdbab2c933d" providerId="ADAL" clId="{347F3697-CBB2-4880-AC29-C5B638CF728D}" dt="2024-03-27T10:53:28.553" v="216" actId="700"/>
          <ac:spMkLst>
            <pc:docMk/>
            <pc:sldMk cId="3390875565" sldId="276"/>
            <ac:spMk id="6" creationId="{5995F118-F19D-3550-A4D2-C3D320EBA4E4}"/>
          </ac:spMkLst>
        </pc:spChg>
        <pc:spChg chg="add mod">
          <ac:chgData name="Alvaro Palacios" userId="e9ac1705-629d-48ad-b253-8fdbab2c933d" providerId="ADAL" clId="{347F3697-CBB2-4880-AC29-C5B638CF728D}" dt="2024-03-27T14:05:15.189" v="514" actId="113"/>
          <ac:spMkLst>
            <pc:docMk/>
            <pc:sldMk cId="3390875565" sldId="276"/>
            <ac:spMk id="7" creationId="{01CF7D0E-F1D2-1C2D-0A6D-9835C31D1219}"/>
          </ac:spMkLst>
        </pc:spChg>
        <pc:spChg chg="add del mod">
          <ac:chgData name="Alvaro Palacios" userId="e9ac1705-629d-48ad-b253-8fdbab2c933d" providerId="ADAL" clId="{347F3697-CBB2-4880-AC29-C5B638CF728D}" dt="2024-03-27T11:02:59.558" v="371" actId="478"/>
          <ac:spMkLst>
            <pc:docMk/>
            <pc:sldMk cId="3390875565" sldId="276"/>
            <ac:spMk id="8" creationId="{B028EADC-146B-052B-F3CC-578DBDB5DC8C}"/>
          </ac:spMkLst>
        </pc:spChg>
        <pc:spChg chg="add mod">
          <ac:chgData name="Alvaro Palacios" userId="e9ac1705-629d-48ad-b253-8fdbab2c933d" providerId="ADAL" clId="{347F3697-CBB2-4880-AC29-C5B638CF728D}" dt="2024-03-27T11:04:58.447" v="434" actId="207"/>
          <ac:spMkLst>
            <pc:docMk/>
            <pc:sldMk cId="3390875565" sldId="276"/>
            <ac:spMk id="9" creationId="{4AD3E462-1D94-7034-7656-CF6520601CCE}"/>
          </ac:spMkLst>
        </pc:spChg>
        <pc:spChg chg="add mod">
          <ac:chgData name="Alvaro Palacios" userId="e9ac1705-629d-48ad-b253-8fdbab2c933d" providerId="ADAL" clId="{347F3697-CBB2-4880-AC29-C5B638CF728D}" dt="2024-03-27T11:03:40.325" v="378" actId="14100"/>
          <ac:spMkLst>
            <pc:docMk/>
            <pc:sldMk cId="3390875565" sldId="276"/>
            <ac:spMk id="10" creationId="{7294B421-7E63-1395-F770-A70A5B994463}"/>
          </ac:spMkLst>
        </pc:spChg>
        <pc:spChg chg="add mod">
          <ac:chgData name="Alvaro Palacios" userId="e9ac1705-629d-48ad-b253-8fdbab2c933d" providerId="ADAL" clId="{347F3697-CBB2-4880-AC29-C5B638CF728D}" dt="2024-03-27T11:04:51.328" v="431" actId="693"/>
          <ac:spMkLst>
            <pc:docMk/>
            <pc:sldMk cId="3390875565" sldId="276"/>
            <ac:spMk id="11" creationId="{61D39E95-918F-58B0-E8CB-E6BF5FA287E9}"/>
          </ac:spMkLst>
        </pc:spChg>
        <pc:spChg chg="add mod">
          <ac:chgData name="Alvaro Palacios" userId="e9ac1705-629d-48ad-b253-8fdbab2c933d" providerId="ADAL" clId="{347F3697-CBB2-4880-AC29-C5B638CF728D}" dt="2024-03-27T11:04:53.736" v="432"/>
          <ac:spMkLst>
            <pc:docMk/>
            <pc:sldMk cId="3390875565" sldId="276"/>
            <ac:spMk id="12" creationId="{9313CA7D-4E14-95B4-122F-1D968A50E888}"/>
          </ac:spMkLst>
        </pc:spChg>
        <pc:spChg chg="del mod topLvl">
          <ac:chgData name="Alvaro Palacios" userId="e9ac1705-629d-48ad-b253-8fdbab2c933d" providerId="ADAL" clId="{347F3697-CBB2-4880-AC29-C5B638CF728D}" dt="2024-03-28T09:50:24.368" v="898" actId="478"/>
          <ac:spMkLst>
            <pc:docMk/>
            <pc:sldMk cId="3390875565" sldId="276"/>
            <ac:spMk id="14" creationId="{DE16399F-C4EF-525A-0C21-96EDA600612F}"/>
          </ac:spMkLst>
        </pc:spChg>
        <pc:spChg chg="mod">
          <ac:chgData name="Alvaro Palacios" userId="e9ac1705-629d-48ad-b253-8fdbab2c933d" providerId="ADAL" clId="{347F3697-CBB2-4880-AC29-C5B638CF728D}" dt="2024-03-28T09:50:37.569" v="902" actId="207"/>
          <ac:spMkLst>
            <pc:docMk/>
            <pc:sldMk cId="3390875565" sldId="276"/>
            <ac:spMk id="18" creationId="{04FC60F3-BC3B-9938-7ADA-B9E06DFCD06B}"/>
          </ac:spMkLst>
        </pc:spChg>
        <pc:grpChg chg="add del mod">
          <ac:chgData name="Alvaro Palacios" userId="e9ac1705-629d-48ad-b253-8fdbab2c933d" providerId="ADAL" clId="{347F3697-CBB2-4880-AC29-C5B638CF728D}" dt="2024-03-28T09:50:23.305" v="897" actId="478"/>
          <ac:grpSpMkLst>
            <pc:docMk/>
            <pc:sldMk cId="3390875565" sldId="276"/>
            <ac:grpSpMk id="13" creationId="{E5289BD8-3029-0FB2-8465-4B3568F438BC}"/>
          </ac:grpSpMkLst>
        </pc:grpChg>
        <pc:grpChg chg="add mod">
          <ac:chgData name="Alvaro Palacios" userId="e9ac1705-629d-48ad-b253-8fdbab2c933d" providerId="ADAL" clId="{347F3697-CBB2-4880-AC29-C5B638CF728D}" dt="2024-03-28T09:51:12.095" v="904" actId="1076"/>
          <ac:grpSpMkLst>
            <pc:docMk/>
            <pc:sldMk cId="3390875565" sldId="276"/>
            <ac:grpSpMk id="17" creationId="{C45CCEFC-76BD-8C4D-C9AD-99A34A3008E2}"/>
          </ac:grpSpMkLst>
        </pc:grpChg>
        <pc:picChg chg="del mod topLvl">
          <ac:chgData name="Alvaro Palacios" userId="e9ac1705-629d-48ad-b253-8fdbab2c933d" providerId="ADAL" clId="{347F3697-CBB2-4880-AC29-C5B638CF728D}" dt="2024-03-28T09:50:23.305" v="897" actId="478"/>
          <ac:picMkLst>
            <pc:docMk/>
            <pc:sldMk cId="3390875565" sldId="276"/>
            <ac:picMk id="15" creationId="{DE7F4BBF-2393-DB61-8430-F7CBF9A517C6}"/>
          </ac:picMkLst>
        </pc:picChg>
        <pc:picChg chg="add del mod">
          <ac:chgData name="Alvaro Palacios" userId="e9ac1705-629d-48ad-b253-8fdbab2c933d" providerId="ADAL" clId="{347F3697-CBB2-4880-AC29-C5B638CF728D}" dt="2024-03-28T09:50:25.905" v="899" actId="478"/>
          <ac:picMkLst>
            <pc:docMk/>
            <pc:sldMk cId="3390875565" sldId="276"/>
            <ac:picMk id="16" creationId="{B93410AB-D3E2-D048-382E-F5F876A1203B}"/>
          </ac:picMkLst>
        </pc:picChg>
        <pc:picChg chg="mod">
          <ac:chgData name="Alvaro Palacios" userId="e9ac1705-629d-48ad-b253-8fdbab2c933d" providerId="ADAL" clId="{347F3697-CBB2-4880-AC29-C5B638CF728D}" dt="2024-03-28T09:50:37.569" v="902" actId="207"/>
          <ac:picMkLst>
            <pc:docMk/>
            <pc:sldMk cId="3390875565" sldId="276"/>
            <ac:picMk id="19" creationId="{4E253A33-4B1D-9DD4-DB84-C379E95186C5}"/>
          </ac:picMkLst>
        </pc:picChg>
        <pc:picChg chg="add mod">
          <ac:chgData name="Alvaro Palacios" userId="e9ac1705-629d-48ad-b253-8fdbab2c933d" providerId="ADAL" clId="{347F3697-CBB2-4880-AC29-C5B638CF728D}" dt="2024-03-27T10:54:31.696" v="229" actId="1076"/>
          <ac:picMkLst>
            <pc:docMk/>
            <pc:sldMk cId="3390875565" sldId="276"/>
            <ac:picMk id="1026" creationId="{BD9D902E-62DF-E66A-6493-596AB2D4F8E3}"/>
          </ac:picMkLst>
        </pc:picChg>
        <pc:picChg chg="add mod">
          <ac:chgData name="Alvaro Palacios" userId="e9ac1705-629d-48ad-b253-8fdbab2c933d" providerId="ADAL" clId="{347F3697-CBB2-4880-AC29-C5B638CF728D}" dt="2024-03-27T11:04:26.386" v="428" actId="1076"/>
          <ac:picMkLst>
            <pc:docMk/>
            <pc:sldMk cId="3390875565" sldId="276"/>
            <ac:picMk id="1028" creationId="{A7B65FB9-92A2-DA37-411F-CFC33C4C0E0A}"/>
          </ac:picMkLst>
        </pc:picChg>
        <pc:picChg chg="add mod">
          <ac:chgData name="Alvaro Palacios" userId="e9ac1705-629d-48ad-b253-8fdbab2c933d" providerId="ADAL" clId="{347F3697-CBB2-4880-AC29-C5B638CF728D}" dt="2024-03-27T10:54:31.696" v="229" actId="1076"/>
          <ac:picMkLst>
            <pc:docMk/>
            <pc:sldMk cId="3390875565" sldId="276"/>
            <ac:picMk id="1030" creationId="{44D91DBA-F625-E440-7543-3DC613685739}"/>
          </ac:picMkLst>
        </pc:picChg>
      </pc:sldChg>
      <pc:sldChg chg="addSp delSp modSp new mod">
        <pc:chgData name="Alvaro Palacios" userId="e9ac1705-629d-48ad-b253-8fdbab2c933d" providerId="ADAL" clId="{347F3697-CBB2-4880-AC29-C5B638CF728D}" dt="2024-03-27T11:01:04.133" v="345" actId="114"/>
        <pc:sldMkLst>
          <pc:docMk/>
          <pc:sldMk cId="1402295964" sldId="277"/>
        </pc:sldMkLst>
        <pc:spChg chg="del">
          <ac:chgData name="Alvaro Palacios" userId="e9ac1705-629d-48ad-b253-8fdbab2c933d" providerId="ADAL" clId="{347F3697-CBB2-4880-AC29-C5B638CF728D}" dt="2024-03-27T10:56:08.799" v="271" actId="478"/>
          <ac:spMkLst>
            <pc:docMk/>
            <pc:sldMk cId="1402295964" sldId="277"/>
            <ac:spMk id="2" creationId="{D7967F1F-DC69-90C4-F385-2C21C8423CC6}"/>
          </ac:spMkLst>
        </pc:spChg>
        <pc:spChg chg="mod">
          <ac:chgData name="Alvaro Palacios" userId="e9ac1705-629d-48ad-b253-8fdbab2c933d" providerId="ADAL" clId="{347F3697-CBB2-4880-AC29-C5B638CF728D}" dt="2024-03-27T11:01:04.133" v="345" actId="114"/>
          <ac:spMkLst>
            <pc:docMk/>
            <pc:sldMk cId="1402295964" sldId="277"/>
            <ac:spMk id="4" creationId="{A86E1A70-9BDE-5B12-F326-8715F8114B02}"/>
          </ac:spMkLst>
        </pc:spChg>
        <pc:spChg chg="add mod">
          <ac:chgData name="Alvaro Palacios" userId="e9ac1705-629d-48ad-b253-8fdbab2c933d" providerId="ADAL" clId="{347F3697-CBB2-4880-AC29-C5B638CF728D}" dt="2024-03-27T10:57:56.992" v="288" actId="1076"/>
          <ac:spMkLst>
            <pc:docMk/>
            <pc:sldMk cId="1402295964" sldId="277"/>
            <ac:spMk id="12" creationId="{A49FE3A5-71B4-E98A-5D3C-952350349C63}"/>
          </ac:spMkLst>
        </pc:spChg>
        <pc:spChg chg="add mod">
          <ac:chgData name="Alvaro Palacios" userId="e9ac1705-629d-48ad-b253-8fdbab2c933d" providerId="ADAL" clId="{347F3697-CBB2-4880-AC29-C5B638CF728D}" dt="2024-03-27T10:57:55.443" v="287" actId="1076"/>
          <ac:spMkLst>
            <pc:docMk/>
            <pc:sldMk cId="1402295964" sldId="277"/>
            <ac:spMk id="13" creationId="{9850F946-4544-6234-31DE-0E5A5B7CB868}"/>
          </ac:spMkLst>
        </pc:spChg>
        <pc:spChg chg="add mod">
          <ac:chgData name="Alvaro Palacios" userId="e9ac1705-629d-48ad-b253-8fdbab2c933d" providerId="ADAL" clId="{347F3697-CBB2-4880-AC29-C5B638CF728D}" dt="2024-03-27T10:58:09.204" v="300" actId="1076"/>
          <ac:spMkLst>
            <pc:docMk/>
            <pc:sldMk cId="1402295964" sldId="277"/>
            <ac:spMk id="14" creationId="{9263E03D-B0E2-0BBB-AECA-2CD1660ECC1D}"/>
          </ac:spMkLst>
        </pc:spChg>
        <pc:spChg chg="add mod">
          <ac:chgData name="Alvaro Palacios" userId="e9ac1705-629d-48ad-b253-8fdbab2c933d" providerId="ADAL" clId="{347F3697-CBB2-4880-AC29-C5B638CF728D}" dt="2024-03-27T10:58:16.740" v="310" actId="14100"/>
          <ac:spMkLst>
            <pc:docMk/>
            <pc:sldMk cId="1402295964" sldId="277"/>
            <ac:spMk id="15" creationId="{E846BFAA-7BC5-F73B-4D04-7DDB8EDFBABD}"/>
          </ac:spMkLst>
        </pc:spChg>
        <pc:picChg chg="add">
          <ac:chgData name="Alvaro Palacios" userId="e9ac1705-629d-48ad-b253-8fdbab2c933d" providerId="ADAL" clId="{347F3697-CBB2-4880-AC29-C5B638CF728D}" dt="2024-03-27T10:56:14.186" v="272"/>
          <ac:picMkLst>
            <pc:docMk/>
            <pc:sldMk cId="1402295964" sldId="277"/>
            <ac:picMk id="2050" creationId="{2D999510-C73A-9894-CC0E-D15C9DE19B12}"/>
          </ac:picMkLst>
        </pc:picChg>
        <pc:inkChg chg="add del">
          <ac:chgData name="Alvaro Palacios" userId="e9ac1705-629d-48ad-b253-8fdbab2c933d" providerId="ADAL" clId="{347F3697-CBB2-4880-AC29-C5B638CF728D}" dt="2024-03-27T10:56:59.831" v="277" actId="9405"/>
          <ac:inkMkLst>
            <pc:docMk/>
            <pc:sldMk cId="1402295964" sldId="277"/>
            <ac:inkMk id="6" creationId="{45DAD677-34C2-C139-2974-F6061EABD707}"/>
          </ac:inkMkLst>
        </pc:inkChg>
        <pc:inkChg chg="add del">
          <ac:chgData name="Alvaro Palacios" userId="e9ac1705-629d-48ad-b253-8fdbab2c933d" providerId="ADAL" clId="{347F3697-CBB2-4880-AC29-C5B638CF728D}" dt="2024-03-27T10:56:59.372" v="276" actId="9405"/>
          <ac:inkMkLst>
            <pc:docMk/>
            <pc:sldMk cId="1402295964" sldId="277"/>
            <ac:inkMk id="7" creationId="{CFCEC2EE-C369-2F9C-9FBB-8DD4C93FCBB7}"/>
          </ac:inkMkLst>
        </pc:inkChg>
        <pc:inkChg chg="add del">
          <ac:chgData name="Alvaro Palacios" userId="e9ac1705-629d-48ad-b253-8fdbab2c933d" providerId="ADAL" clId="{347F3697-CBB2-4880-AC29-C5B638CF728D}" dt="2024-03-27T11:00:07.943" v="323" actId="9405"/>
          <ac:inkMkLst>
            <pc:docMk/>
            <pc:sldMk cId="1402295964" sldId="277"/>
            <ac:inkMk id="16" creationId="{35843AF6-674E-8FB4-631D-380BD121413C}"/>
          </ac:inkMkLst>
        </pc:inkChg>
        <pc:inkChg chg="add del">
          <ac:chgData name="Alvaro Palacios" userId="e9ac1705-629d-48ad-b253-8fdbab2c933d" providerId="ADAL" clId="{347F3697-CBB2-4880-AC29-C5B638CF728D}" dt="2024-03-27T11:00:10.030" v="325" actId="9405"/>
          <ac:inkMkLst>
            <pc:docMk/>
            <pc:sldMk cId="1402295964" sldId="277"/>
            <ac:inkMk id="17" creationId="{478AE362-AE45-9567-FBBC-24187B6A045A}"/>
          </ac:inkMkLst>
        </pc:inkChg>
        <pc:inkChg chg="add">
          <ac:chgData name="Alvaro Palacios" userId="e9ac1705-629d-48ad-b253-8fdbab2c933d" providerId="ADAL" clId="{347F3697-CBB2-4880-AC29-C5B638CF728D}" dt="2024-03-27T11:00:20.395" v="328" actId="9405"/>
          <ac:inkMkLst>
            <pc:docMk/>
            <pc:sldMk cId="1402295964" sldId="277"/>
            <ac:inkMk id="18" creationId="{0CC2EF72-3B6C-4BE6-5FEE-70551D630FA6}"/>
          </ac:inkMkLst>
        </pc:inkChg>
        <pc:inkChg chg="add del">
          <ac:chgData name="Alvaro Palacios" userId="e9ac1705-629d-48ad-b253-8fdbab2c933d" providerId="ADAL" clId="{347F3697-CBB2-4880-AC29-C5B638CF728D}" dt="2024-03-27T11:00:24.720" v="330" actId="9405"/>
          <ac:inkMkLst>
            <pc:docMk/>
            <pc:sldMk cId="1402295964" sldId="277"/>
            <ac:inkMk id="19" creationId="{7E1244A9-620B-1C26-5D8A-6CA73D5E7447}"/>
          </ac:inkMkLst>
        </pc:inkChg>
        <pc:inkChg chg="add del">
          <ac:chgData name="Alvaro Palacios" userId="e9ac1705-629d-48ad-b253-8fdbab2c933d" providerId="ADAL" clId="{347F3697-CBB2-4880-AC29-C5B638CF728D}" dt="2024-03-27T11:00:28.089" v="332" actId="9405"/>
          <ac:inkMkLst>
            <pc:docMk/>
            <pc:sldMk cId="1402295964" sldId="277"/>
            <ac:inkMk id="20" creationId="{74F82423-814C-F9D1-6D67-B195B3255965}"/>
          </ac:inkMkLst>
        </pc:inkChg>
        <pc:inkChg chg="add del">
          <ac:chgData name="Alvaro Palacios" userId="e9ac1705-629d-48ad-b253-8fdbab2c933d" providerId="ADAL" clId="{347F3697-CBB2-4880-AC29-C5B638CF728D}" dt="2024-03-27T11:00:51.339" v="338" actId="478"/>
          <ac:inkMkLst>
            <pc:docMk/>
            <pc:sldMk cId="1402295964" sldId="277"/>
            <ac:inkMk id="21" creationId="{DED87D89-3846-1F17-20DF-F8E8BDF48BB6}"/>
          </ac:inkMkLst>
        </pc:inkChg>
        <pc:inkChg chg="add del">
          <ac:chgData name="Alvaro Palacios" userId="e9ac1705-629d-48ad-b253-8fdbab2c933d" providerId="ADAL" clId="{347F3697-CBB2-4880-AC29-C5B638CF728D}" dt="2024-03-27T11:00:32.847" v="335" actId="9405"/>
          <ac:inkMkLst>
            <pc:docMk/>
            <pc:sldMk cId="1402295964" sldId="277"/>
            <ac:inkMk id="22" creationId="{3534D741-7BEF-7F6D-B68F-E23C1A622594}"/>
          </ac:inkMkLst>
        </pc:inkChg>
        <pc:inkChg chg="add">
          <ac:chgData name="Alvaro Palacios" userId="e9ac1705-629d-48ad-b253-8fdbab2c933d" providerId="ADAL" clId="{347F3697-CBB2-4880-AC29-C5B638CF728D}" dt="2024-03-27T11:00:34.866" v="336" actId="9405"/>
          <ac:inkMkLst>
            <pc:docMk/>
            <pc:sldMk cId="1402295964" sldId="277"/>
            <ac:inkMk id="23" creationId="{EF443F8F-3929-1048-FDEE-5EA862B2DA28}"/>
          </ac:inkMkLst>
        </pc:inkChg>
        <pc:cxnChg chg="add del mod">
          <ac:chgData name="Alvaro Palacios" userId="e9ac1705-629d-48ad-b253-8fdbab2c933d" providerId="ADAL" clId="{347F3697-CBB2-4880-AC29-C5B638CF728D}" dt="2024-03-27T11:00:12.732" v="326" actId="478"/>
          <ac:cxnSpMkLst>
            <pc:docMk/>
            <pc:sldMk cId="1402295964" sldId="277"/>
            <ac:cxnSpMk id="9" creationId="{77785813-64D4-0BC9-00DA-E6F06736F3B8}"/>
          </ac:cxnSpMkLst>
        </pc:cxnChg>
        <pc:cxnChg chg="add del mod">
          <ac:chgData name="Alvaro Palacios" userId="e9ac1705-629d-48ad-b253-8fdbab2c933d" providerId="ADAL" clId="{347F3697-CBB2-4880-AC29-C5B638CF728D}" dt="2024-03-27T11:00:13.152" v="327" actId="478"/>
          <ac:cxnSpMkLst>
            <pc:docMk/>
            <pc:sldMk cId="1402295964" sldId="277"/>
            <ac:cxnSpMk id="10" creationId="{9E209159-E373-E171-6812-B2AD2E10E1D9}"/>
          </ac:cxnSpMkLst>
        </pc:cxnChg>
      </pc:sldChg>
      <pc:sldChg chg="addSp delSp modSp new mod chgLayout">
        <pc:chgData name="Alvaro Palacios" userId="e9ac1705-629d-48ad-b253-8fdbab2c933d" providerId="ADAL" clId="{347F3697-CBB2-4880-AC29-C5B638CF728D}" dt="2024-03-27T11:00:59.024" v="339"/>
        <pc:sldMkLst>
          <pc:docMk/>
          <pc:sldMk cId="2792560978" sldId="278"/>
        </pc:sldMkLst>
        <pc:spChg chg="del mod ord">
          <ac:chgData name="Alvaro Palacios" userId="e9ac1705-629d-48ad-b253-8fdbab2c933d" providerId="ADAL" clId="{347F3697-CBB2-4880-AC29-C5B638CF728D}" dt="2024-03-27T10:59:24.452" v="312" actId="700"/>
          <ac:spMkLst>
            <pc:docMk/>
            <pc:sldMk cId="2792560978" sldId="278"/>
            <ac:spMk id="2" creationId="{1C20A7AD-C142-AE4A-C738-B56DFD9084B6}"/>
          </ac:spMkLst>
        </pc:spChg>
        <pc:spChg chg="del mod ord">
          <ac:chgData name="Alvaro Palacios" userId="e9ac1705-629d-48ad-b253-8fdbab2c933d" providerId="ADAL" clId="{347F3697-CBB2-4880-AC29-C5B638CF728D}" dt="2024-03-27T10:59:24.452" v="312" actId="700"/>
          <ac:spMkLst>
            <pc:docMk/>
            <pc:sldMk cId="2792560978" sldId="278"/>
            <ac:spMk id="3" creationId="{42900D7B-4D45-A963-0C29-09A508CC933F}"/>
          </ac:spMkLst>
        </pc:spChg>
        <pc:spChg chg="add mod ord">
          <ac:chgData name="Alvaro Palacios" userId="e9ac1705-629d-48ad-b253-8fdbab2c933d" providerId="ADAL" clId="{347F3697-CBB2-4880-AC29-C5B638CF728D}" dt="2024-03-27T11:00:59.024" v="339"/>
          <ac:spMkLst>
            <pc:docMk/>
            <pc:sldMk cId="2792560978" sldId="278"/>
            <ac:spMk id="4" creationId="{360D8CD1-ED6B-3FCE-4C79-9D6CBBC76B0F}"/>
          </ac:spMkLst>
        </pc:spChg>
        <pc:spChg chg="add del mod ord">
          <ac:chgData name="Alvaro Palacios" userId="e9ac1705-629d-48ad-b253-8fdbab2c933d" providerId="ADAL" clId="{347F3697-CBB2-4880-AC29-C5B638CF728D}" dt="2024-03-27T10:59:32.884" v="313" actId="478"/>
          <ac:spMkLst>
            <pc:docMk/>
            <pc:sldMk cId="2792560978" sldId="278"/>
            <ac:spMk id="5" creationId="{D1E37510-ED88-9705-5CCC-6C479787A606}"/>
          </ac:spMkLst>
        </pc:spChg>
        <pc:spChg chg="add mod ord">
          <ac:chgData name="Alvaro Palacios" userId="e9ac1705-629d-48ad-b253-8fdbab2c933d" providerId="ADAL" clId="{347F3697-CBB2-4880-AC29-C5B638CF728D}" dt="2024-03-27T10:59:24.452" v="312" actId="700"/>
          <ac:spMkLst>
            <pc:docMk/>
            <pc:sldMk cId="2792560978" sldId="278"/>
            <ac:spMk id="6" creationId="{FC317F6B-334E-4387-FBD2-9FD38344081D}"/>
          </ac:spMkLst>
        </pc:spChg>
        <pc:spChg chg="add del mod">
          <ac:chgData name="Alvaro Palacios" userId="e9ac1705-629d-48ad-b253-8fdbab2c933d" providerId="ADAL" clId="{347F3697-CBB2-4880-AC29-C5B638CF728D}" dt="2024-03-27T10:59:50.457" v="320" actId="14100"/>
          <ac:spMkLst>
            <pc:docMk/>
            <pc:sldMk cId="2792560978" sldId="278"/>
            <ac:spMk id="8" creationId="{034162F8-1862-138B-1C5A-19E24009B6DC}"/>
          </ac:spMkLst>
        </pc:spChg>
        <pc:spChg chg="add del mod">
          <ac:chgData name="Alvaro Palacios" userId="e9ac1705-629d-48ad-b253-8fdbab2c933d" providerId="ADAL" clId="{347F3697-CBB2-4880-AC29-C5B638CF728D}" dt="2024-03-27T10:59:53.241" v="321" actId="1076"/>
          <ac:spMkLst>
            <pc:docMk/>
            <pc:sldMk cId="2792560978" sldId="278"/>
            <ac:spMk id="9" creationId="{93F3827D-C731-DE73-0587-53662D8652E4}"/>
          </ac:spMkLst>
        </pc:spChg>
        <pc:picChg chg="add">
          <ac:chgData name="Alvaro Palacios" userId="e9ac1705-629d-48ad-b253-8fdbab2c933d" providerId="ADAL" clId="{347F3697-CBB2-4880-AC29-C5B638CF728D}" dt="2024-03-27T10:59:33.330" v="314"/>
          <ac:picMkLst>
            <pc:docMk/>
            <pc:sldMk cId="2792560978" sldId="278"/>
            <ac:picMk id="3074" creationId="{66F00A8C-7002-2C14-A59F-E6C22C9F52E7}"/>
          </ac:picMkLst>
        </pc:picChg>
        <pc:cxnChg chg="add del mod">
          <ac:chgData name="Alvaro Palacios" userId="e9ac1705-629d-48ad-b253-8fdbab2c933d" providerId="ADAL" clId="{347F3697-CBB2-4880-AC29-C5B638CF728D}" dt="2024-03-27T10:59:44.714" v="318" actId="478"/>
          <ac:cxnSpMkLst>
            <pc:docMk/>
            <pc:sldMk cId="2792560978" sldId="278"/>
            <ac:cxnSpMk id="7" creationId="{1B362DAA-B845-72C9-7FC1-86D926330D96}"/>
          </ac:cxnSpMkLst>
        </pc:cxnChg>
      </pc:sldChg>
      <pc:sldChg chg="addSp modSp add mod">
        <pc:chgData name="Alvaro Palacios" userId="e9ac1705-629d-48ad-b253-8fdbab2c933d" providerId="ADAL" clId="{347F3697-CBB2-4880-AC29-C5B638CF728D}" dt="2024-03-28T09:49:46.604" v="893" actId="12788"/>
        <pc:sldMkLst>
          <pc:docMk/>
          <pc:sldMk cId="337796321" sldId="279"/>
        </pc:sldMkLst>
        <pc:spChg chg="mod">
          <ac:chgData name="Alvaro Palacios" userId="e9ac1705-629d-48ad-b253-8fdbab2c933d" providerId="ADAL" clId="{347F3697-CBB2-4880-AC29-C5B638CF728D}" dt="2024-03-27T14:05:43.440" v="539" actId="12789"/>
          <ac:spMkLst>
            <pc:docMk/>
            <pc:sldMk cId="337796321" sldId="279"/>
            <ac:spMk id="7" creationId="{76A96719-54FC-9866-3D1D-26973448F8B7}"/>
          </ac:spMkLst>
        </pc:spChg>
        <pc:spChg chg="mod">
          <ac:chgData name="Alvaro Palacios" userId="e9ac1705-629d-48ad-b253-8fdbab2c933d" providerId="ADAL" clId="{347F3697-CBB2-4880-AC29-C5B638CF728D}" dt="2024-03-28T08:21:21.300" v="693" actId="20577"/>
          <ac:spMkLst>
            <pc:docMk/>
            <pc:sldMk cId="337796321" sldId="279"/>
            <ac:spMk id="9" creationId="{0DB37601-CABD-6E09-BFD0-4C93C0A1A15D}"/>
          </ac:spMkLst>
        </pc:spChg>
        <pc:spChg chg="mod">
          <ac:chgData name="Alvaro Palacios" userId="e9ac1705-629d-48ad-b253-8fdbab2c933d" providerId="ADAL" clId="{347F3697-CBB2-4880-AC29-C5B638CF728D}" dt="2024-03-28T09:45:25.359" v="778"/>
          <ac:spMkLst>
            <pc:docMk/>
            <pc:sldMk cId="337796321" sldId="279"/>
            <ac:spMk id="12" creationId="{074719C2-8000-B6D4-7691-27A4D8E99A68}"/>
          </ac:spMkLst>
        </pc:spChg>
        <pc:spChg chg="mod">
          <ac:chgData name="Alvaro Palacios" userId="e9ac1705-629d-48ad-b253-8fdbab2c933d" providerId="ADAL" clId="{347F3697-CBB2-4880-AC29-C5B638CF728D}" dt="2024-03-28T09:45:25.359" v="778"/>
          <ac:spMkLst>
            <pc:docMk/>
            <pc:sldMk cId="337796321" sldId="279"/>
            <ac:spMk id="14" creationId="{84907670-20D7-B09D-A83A-DEC3C3E93F38}"/>
          </ac:spMkLst>
        </pc:spChg>
        <pc:spChg chg="mod">
          <ac:chgData name="Alvaro Palacios" userId="e9ac1705-629d-48ad-b253-8fdbab2c933d" providerId="ADAL" clId="{347F3697-CBB2-4880-AC29-C5B638CF728D}" dt="2024-03-28T09:45:30.279" v="780"/>
          <ac:spMkLst>
            <pc:docMk/>
            <pc:sldMk cId="337796321" sldId="279"/>
            <ac:spMk id="20" creationId="{D59FD92F-1FBA-750D-C980-3CB0EEC72655}"/>
          </ac:spMkLst>
        </pc:spChg>
        <pc:spChg chg="mod">
          <ac:chgData name="Alvaro Palacios" userId="e9ac1705-629d-48ad-b253-8fdbab2c933d" providerId="ADAL" clId="{347F3697-CBB2-4880-AC29-C5B638CF728D}" dt="2024-03-28T09:45:30.279" v="780"/>
          <ac:spMkLst>
            <pc:docMk/>
            <pc:sldMk cId="337796321" sldId="279"/>
            <ac:spMk id="22" creationId="{C91D302C-A013-8805-220D-6ACA70027E8E}"/>
          </ac:spMkLst>
        </pc:spChg>
        <pc:spChg chg="mod">
          <ac:chgData name="Alvaro Palacios" userId="e9ac1705-629d-48ad-b253-8fdbab2c933d" providerId="ADAL" clId="{347F3697-CBB2-4880-AC29-C5B638CF728D}" dt="2024-03-28T09:46:00.186" v="785"/>
          <ac:spMkLst>
            <pc:docMk/>
            <pc:sldMk cId="337796321" sldId="279"/>
            <ac:spMk id="25" creationId="{6DD4DD7C-2935-16ED-E0DB-543C5B5E0947}"/>
          </ac:spMkLst>
        </pc:spChg>
        <pc:spChg chg="add mod">
          <ac:chgData name="Alvaro Palacios" userId="e9ac1705-629d-48ad-b253-8fdbab2c933d" providerId="ADAL" clId="{347F3697-CBB2-4880-AC29-C5B638CF728D}" dt="2024-03-28T09:47:22.608" v="855" actId="1037"/>
          <ac:spMkLst>
            <pc:docMk/>
            <pc:sldMk cId="337796321" sldId="279"/>
            <ac:spMk id="30" creationId="{4B5DEC39-4AC5-295D-1C4C-E6F7AB107C2C}"/>
          </ac:spMkLst>
        </pc:spChg>
        <pc:spChg chg="add mod">
          <ac:chgData name="Alvaro Palacios" userId="e9ac1705-629d-48ad-b253-8fdbab2c933d" providerId="ADAL" clId="{347F3697-CBB2-4880-AC29-C5B638CF728D}" dt="2024-03-28T09:49:46.604" v="893" actId="12788"/>
          <ac:spMkLst>
            <pc:docMk/>
            <pc:sldMk cId="337796321" sldId="279"/>
            <ac:spMk id="31" creationId="{8032BF9C-0401-95E4-A165-3A8CB63AF0B2}"/>
          </ac:spMkLst>
        </pc:spChg>
        <pc:spChg chg="add mod">
          <ac:chgData name="Alvaro Palacios" userId="e9ac1705-629d-48ad-b253-8fdbab2c933d" providerId="ADAL" clId="{347F3697-CBB2-4880-AC29-C5B638CF728D}" dt="2024-03-28T09:49:40.882" v="892" actId="12788"/>
          <ac:spMkLst>
            <pc:docMk/>
            <pc:sldMk cId="337796321" sldId="279"/>
            <ac:spMk id="32" creationId="{E77BEB41-206F-B4EA-6D24-40C0F8165CEA}"/>
          </ac:spMkLst>
        </pc:spChg>
        <pc:grpChg chg="add mod ord">
          <ac:chgData name="Alvaro Palacios" userId="e9ac1705-629d-48ad-b253-8fdbab2c933d" providerId="ADAL" clId="{347F3697-CBB2-4880-AC29-C5B638CF728D}" dt="2024-03-28T09:49:46.604" v="893" actId="12788"/>
          <ac:grpSpMkLst>
            <pc:docMk/>
            <pc:sldMk cId="337796321" sldId="279"/>
            <ac:grpSpMk id="2" creationId="{F15A5970-DC7B-0253-5E8E-C72BD7D9AADA}"/>
          </ac:grpSpMkLst>
        </pc:grpChg>
        <pc:grpChg chg="mod">
          <ac:chgData name="Alvaro Palacios" userId="e9ac1705-629d-48ad-b253-8fdbab2c933d" providerId="ADAL" clId="{347F3697-CBB2-4880-AC29-C5B638CF728D}" dt="2024-03-28T09:45:25.359" v="778"/>
          <ac:grpSpMkLst>
            <pc:docMk/>
            <pc:sldMk cId="337796321" sldId="279"/>
            <ac:grpSpMk id="5" creationId="{C3E888C2-EAA6-9118-373C-3AC6AD96DE16}"/>
          </ac:grpSpMkLst>
        </pc:grpChg>
        <pc:grpChg chg="mod">
          <ac:chgData name="Alvaro Palacios" userId="e9ac1705-629d-48ad-b253-8fdbab2c933d" providerId="ADAL" clId="{347F3697-CBB2-4880-AC29-C5B638CF728D}" dt="2024-03-28T09:45:25.359" v="778"/>
          <ac:grpSpMkLst>
            <pc:docMk/>
            <pc:sldMk cId="337796321" sldId="279"/>
            <ac:grpSpMk id="8" creationId="{A4B7C330-6543-0738-07EF-664BE039D77C}"/>
          </ac:grpSpMkLst>
        </pc:grpChg>
        <pc:grpChg chg="add mod ord">
          <ac:chgData name="Alvaro Palacios" userId="e9ac1705-629d-48ad-b253-8fdbab2c933d" providerId="ADAL" clId="{347F3697-CBB2-4880-AC29-C5B638CF728D}" dt="2024-03-28T09:49:40.882" v="892" actId="12788"/>
          <ac:grpSpMkLst>
            <pc:docMk/>
            <pc:sldMk cId="337796321" sldId="279"/>
            <ac:grpSpMk id="16" creationId="{3666AC01-1935-5E1C-9C82-7B7E46C743C2}"/>
          </ac:grpSpMkLst>
        </pc:grpChg>
        <pc:grpChg chg="mod">
          <ac:chgData name="Alvaro Palacios" userId="e9ac1705-629d-48ad-b253-8fdbab2c933d" providerId="ADAL" clId="{347F3697-CBB2-4880-AC29-C5B638CF728D}" dt="2024-03-28T09:45:30.279" v="780"/>
          <ac:grpSpMkLst>
            <pc:docMk/>
            <pc:sldMk cId="337796321" sldId="279"/>
            <ac:grpSpMk id="18" creationId="{1013107C-5499-F914-636A-28F5BCAEDCBB}"/>
          </ac:grpSpMkLst>
        </pc:grpChg>
        <pc:grpChg chg="mod">
          <ac:chgData name="Alvaro Palacios" userId="e9ac1705-629d-48ad-b253-8fdbab2c933d" providerId="ADAL" clId="{347F3697-CBB2-4880-AC29-C5B638CF728D}" dt="2024-03-28T09:45:30.279" v="780"/>
          <ac:grpSpMkLst>
            <pc:docMk/>
            <pc:sldMk cId="337796321" sldId="279"/>
            <ac:grpSpMk id="19" creationId="{761F8856-BBEA-56B3-B929-F8D41DE2ECAB}"/>
          </ac:grpSpMkLst>
        </pc:grpChg>
        <pc:grpChg chg="add mod">
          <ac:chgData name="Alvaro Palacios" userId="e9ac1705-629d-48ad-b253-8fdbab2c933d" providerId="ADAL" clId="{347F3697-CBB2-4880-AC29-C5B638CF728D}" dt="2024-03-28T09:47:22.608" v="855" actId="1037"/>
          <ac:grpSpMkLst>
            <pc:docMk/>
            <pc:sldMk cId="337796321" sldId="279"/>
            <ac:grpSpMk id="24" creationId="{CCA605B2-D57A-68C7-4E39-5A8DABE5CE06}"/>
          </ac:grpSpMkLst>
        </pc:grpChg>
        <pc:picChg chg="mod">
          <ac:chgData name="Alvaro Palacios" userId="e9ac1705-629d-48ad-b253-8fdbab2c933d" providerId="ADAL" clId="{347F3697-CBB2-4880-AC29-C5B638CF728D}" dt="2024-03-28T09:45:25.359" v="778"/>
          <ac:picMkLst>
            <pc:docMk/>
            <pc:sldMk cId="337796321" sldId="279"/>
            <ac:picMk id="3" creationId="{7B64F2D5-806A-994F-BB18-A4FFEDC23671}"/>
          </ac:picMkLst>
        </pc:picChg>
        <pc:picChg chg="mod">
          <ac:chgData name="Alvaro Palacios" userId="e9ac1705-629d-48ad-b253-8fdbab2c933d" providerId="ADAL" clId="{347F3697-CBB2-4880-AC29-C5B638CF728D}" dt="2024-03-28T09:45:25.359" v="778"/>
          <ac:picMkLst>
            <pc:docMk/>
            <pc:sldMk cId="337796321" sldId="279"/>
            <ac:picMk id="13" creationId="{539FA8A7-D5A3-CFEC-C144-4CA5776D43DA}"/>
          </ac:picMkLst>
        </pc:picChg>
        <pc:picChg chg="mod">
          <ac:chgData name="Alvaro Palacios" userId="e9ac1705-629d-48ad-b253-8fdbab2c933d" providerId="ADAL" clId="{347F3697-CBB2-4880-AC29-C5B638CF728D}" dt="2024-03-28T09:45:25.359" v="778"/>
          <ac:picMkLst>
            <pc:docMk/>
            <pc:sldMk cId="337796321" sldId="279"/>
            <ac:picMk id="15" creationId="{5869F869-0991-AE96-D1EA-12D969D80462}"/>
          </ac:picMkLst>
        </pc:picChg>
        <pc:picChg chg="mod">
          <ac:chgData name="Alvaro Palacios" userId="e9ac1705-629d-48ad-b253-8fdbab2c933d" providerId="ADAL" clId="{347F3697-CBB2-4880-AC29-C5B638CF728D}" dt="2024-03-28T09:45:30.279" v="780"/>
          <ac:picMkLst>
            <pc:docMk/>
            <pc:sldMk cId="337796321" sldId="279"/>
            <ac:picMk id="17" creationId="{5D48F6F7-15B3-6C67-8F69-C7CD66ABD943}"/>
          </ac:picMkLst>
        </pc:picChg>
        <pc:picChg chg="mod">
          <ac:chgData name="Alvaro Palacios" userId="e9ac1705-629d-48ad-b253-8fdbab2c933d" providerId="ADAL" clId="{347F3697-CBB2-4880-AC29-C5B638CF728D}" dt="2024-03-28T09:45:30.279" v="780"/>
          <ac:picMkLst>
            <pc:docMk/>
            <pc:sldMk cId="337796321" sldId="279"/>
            <ac:picMk id="21" creationId="{4C67F84B-66CE-06FA-AECE-975F1C387266}"/>
          </ac:picMkLst>
        </pc:picChg>
        <pc:picChg chg="mod">
          <ac:chgData name="Alvaro Palacios" userId="e9ac1705-629d-48ad-b253-8fdbab2c933d" providerId="ADAL" clId="{347F3697-CBB2-4880-AC29-C5B638CF728D}" dt="2024-03-28T09:45:30.279" v="780"/>
          <ac:picMkLst>
            <pc:docMk/>
            <pc:sldMk cId="337796321" sldId="279"/>
            <ac:picMk id="23" creationId="{A2758D66-1E60-6E73-28E9-CBF79DBDAA97}"/>
          </ac:picMkLst>
        </pc:picChg>
        <pc:picChg chg="mod">
          <ac:chgData name="Alvaro Palacios" userId="e9ac1705-629d-48ad-b253-8fdbab2c933d" providerId="ADAL" clId="{347F3697-CBB2-4880-AC29-C5B638CF728D}" dt="2024-03-28T09:46:00.186" v="785"/>
          <ac:picMkLst>
            <pc:docMk/>
            <pc:sldMk cId="337796321" sldId="279"/>
            <ac:picMk id="26" creationId="{4E2C436D-CE13-2EEF-C34A-A546918C82D5}"/>
          </ac:picMkLst>
        </pc:picChg>
        <pc:cxnChg chg="add mod">
          <ac:chgData name="Alvaro Palacios" userId="e9ac1705-629d-48ad-b253-8fdbab2c933d" providerId="ADAL" clId="{347F3697-CBB2-4880-AC29-C5B638CF728D}" dt="2024-03-28T09:46:33.845" v="840" actId="14100"/>
          <ac:cxnSpMkLst>
            <pc:docMk/>
            <pc:sldMk cId="337796321" sldId="279"/>
            <ac:cxnSpMk id="27" creationId="{2F06E61C-33E2-63A5-3331-00F6F02F2D13}"/>
          </ac:cxnSpMkLst>
        </pc:cxnChg>
      </pc:sldChg>
      <pc:sldChg chg="modSp add mod ord">
        <pc:chgData name="Alvaro Palacios" userId="e9ac1705-629d-48ad-b253-8fdbab2c933d" providerId="ADAL" clId="{347F3697-CBB2-4880-AC29-C5B638CF728D}" dt="2024-03-28T08:24:01.572" v="777" actId="20577"/>
        <pc:sldMkLst>
          <pc:docMk/>
          <pc:sldMk cId="3231510033" sldId="280"/>
        </pc:sldMkLst>
        <pc:spChg chg="mod">
          <ac:chgData name="Alvaro Palacios" userId="e9ac1705-629d-48ad-b253-8fdbab2c933d" providerId="ADAL" clId="{347F3697-CBB2-4880-AC29-C5B638CF728D}" dt="2024-03-27T14:06:28.175" v="552" actId="20577"/>
          <ac:spMkLst>
            <pc:docMk/>
            <pc:sldMk cId="3231510033" sldId="280"/>
            <ac:spMk id="2" creationId="{DFE4E0D7-2225-8826-C5EC-FDE0FACA9F06}"/>
          </ac:spMkLst>
        </pc:spChg>
        <pc:spChg chg="mod">
          <ac:chgData name="Alvaro Palacios" userId="e9ac1705-629d-48ad-b253-8fdbab2c933d" providerId="ADAL" clId="{347F3697-CBB2-4880-AC29-C5B638CF728D}" dt="2024-03-28T08:24:01.572" v="777" actId="20577"/>
          <ac:spMkLst>
            <pc:docMk/>
            <pc:sldMk cId="3231510033" sldId="280"/>
            <ac:spMk id="3" creationId="{C3AB19E1-05F0-C746-4D3E-E4CE14029FDF}"/>
          </ac:spMkLst>
        </pc:spChg>
      </pc:sldChg>
      <pc:sldChg chg="del">
        <pc:chgData name="Alvaro Palacios" userId="e9ac1705-629d-48ad-b253-8fdbab2c933d" providerId="ADAL" clId="{347F3697-CBB2-4880-AC29-C5B638CF728D}" dt="2024-03-27T10:50:32.896" v="2" actId="47"/>
        <pc:sldMkLst>
          <pc:docMk/>
          <pc:sldMk cId="2999164298" sldId="2147310271"/>
        </pc:sldMkLst>
      </pc:sldChg>
      <pc:sldChg chg="del">
        <pc:chgData name="Alvaro Palacios" userId="e9ac1705-629d-48ad-b253-8fdbab2c933d" providerId="ADAL" clId="{347F3697-CBB2-4880-AC29-C5B638CF728D}" dt="2024-03-27T10:50:32.896" v="2" actId="47"/>
        <pc:sldMkLst>
          <pc:docMk/>
          <pc:sldMk cId="1765950549" sldId="2147469032"/>
        </pc:sldMkLst>
      </pc:sldChg>
      <pc:sldChg chg="del">
        <pc:chgData name="Alvaro Palacios" userId="e9ac1705-629d-48ad-b253-8fdbab2c933d" providerId="ADAL" clId="{347F3697-CBB2-4880-AC29-C5B638CF728D}" dt="2024-03-27T10:50:28.744" v="1" actId="47"/>
        <pc:sldMkLst>
          <pc:docMk/>
          <pc:sldMk cId="1139885304" sldId="2147469033"/>
        </pc:sldMkLst>
      </pc:sldChg>
      <pc:sldChg chg="del">
        <pc:chgData name="Alvaro Palacios" userId="e9ac1705-629d-48ad-b253-8fdbab2c933d" providerId="ADAL" clId="{347F3697-CBB2-4880-AC29-C5B638CF728D}" dt="2024-03-27T10:50:32.896" v="2" actId="47"/>
        <pc:sldMkLst>
          <pc:docMk/>
          <pc:sldMk cId="3011243851" sldId="2147469098"/>
        </pc:sldMkLst>
      </pc:sldChg>
    </pc:docChg>
  </pc:docChgLst>
  <pc:docChgLst>
    <pc:chgData name="Alvaro Palacios" userId="e9ac1705-629d-48ad-b253-8fdbab2c933d" providerId="ADAL" clId="{8889C446-0B59-4A24-8310-5ED01FA36692}"/>
    <pc:docChg chg="undo custSel modSld">
      <pc:chgData name="Alvaro Palacios" userId="e9ac1705-629d-48ad-b253-8fdbab2c933d" providerId="ADAL" clId="{8889C446-0B59-4A24-8310-5ED01FA36692}" dt="2024-03-28T11:51:35.473" v="73" actId="20577"/>
      <pc:docMkLst>
        <pc:docMk/>
      </pc:docMkLst>
      <pc:sldChg chg="delSp">
        <pc:chgData name="Alvaro Palacios" userId="e9ac1705-629d-48ad-b253-8fdbab2c933d" providerId="ADAL" clId="{8889C446-0B59-4A24-8310-5ED01FA36692}" dt="2024-03-28T11:48:53.895" v="1" actId="478"/>
        <pc:sldMkLst>
          <pc:docMk/>
          <pc:sldMk cId="2989408624" sldId="256"/>
        </pc:sldMkLst>
        <pc:picChg chg="del">
          <ac:chgData name="Alvaro Palacios" userId="e9ac1705-629d-48ad-b253-8fdbab2c933d" providerId="ADAL" clId="{8889C446-0B59-4A24-8310-5ED01FA36692}" dt="2024-03-28T11:48:53.895" v="1" actId="478"/>
          <ac:picMkLst>
            <pc:docMk/>
            <pc:sldMk cId="2989408624" sldId="256"/>
            <ac:picMk id="1028" creationId="{CF35C46F-DD15-24DA-612F-7D7DB3B176F0}"/>
          </ac:picMkLst>
        </pc:picChg>
        <pc:picChg chg="del">
          <ac:chgData name="Alvaro Palacios" userId="e9ac1705-629d-48ad-b253-8fdbab2c933d" providerId="ADAL" clId="{8889C446-0B59-4A24-8310-5ED01FA36692}" dt="2024-03-28T11:48:51.791" v="0" actId="478"/>
          <ac:picMkLst>
            <pc:docMk/>
            <pc:sldMk cId="2989408624" sldId="256"/>
            <ac:picMk id="1030" creationId="{31036F68-001D-DB98-7C78-A09778AC2C09}"/>
          </ac:picMkLst>
        </pc:picChg>
      </pc:sldChg>
      <pc:sldChg chg="modSp mod">
        <pc:chgData name="Alvaro Palacios" userId="e9ac1705-629d-48ad-b253-8fdbab2c933d" providerId="ADAL" clId="{8889C446-0B59-4A24-8310-5ED01FA36692}" dt="2024-03-28T11:51:01.207" v="59" actId="6549"/>
        <pc:sldMkLst>
          <pc:docMk/>
          <pc:sldMk cId="3390875565" sldId="276"/>
        </pc:sldMkLst>
        <pc:spChg chg="mod">
          <ac:chgData name="Alvaro Palacios" userId="e9ac1705-629d-48ad-b253-8fdbab2c933d" providerId="ADAL" clId="{8889C446-0B59-4A24-8310-5ED01FA36692}" dt="2024-03-28T11:51:01.207" v="59" actId="6549"/>
          <ac:spMkLst>
            <pc:docMk/>
            <pc:sldMk cId="3390875565" sldId="276"/>
            <ac:spMk id="6" creationId="{5995F118-F19D-3550-A4D2-C3D320EBA4E4}"/>
          </ac:spMkLst>
        </pc:spChg>
      </pc:sldChg>
      <pc:sldChg chg="addSp delSp modSp mod">
        <pc:chgData name="Alvaro Palacios" userId="e9ac1705-629d-48ad-b253-8fdbab2c933d" providerId="ADAL" clId="{8889C446-0B59-4A24-8310-5ED01FA36692}" dt="2024-03-28T11:51:32.331" v="69" actId="20577"/>
        <pc:sldMkLst>
          <pc:docMk/>
          <pc:sldMk cId="1402295964" sldId="277"/>
        </pc:sldMkLst>
        <pc:spChg chg="add mod">
          <ac:chgData name="Alvaro Palacios" userId="e9ac1705-629d-48ad-b253-8fdbab2c933d" providerId="ADAL" clId="{8889C446-0B59-4A24-8310-5ED01FA36692}" dt="2024-03-28T11:51:32.331" v="69" actId="20577"/>
          <ac:spMkLst>
            <pc:docMk/>
            <pc:sldMk cId="1402295964" sldId="277"/>
            <ac:spMk id="2" creationId="{E6F432D7-F21C-F9BF-5CBA-36C86313A7A3}"/>
          </ac:spMkLst>
        </pc:spChg>
        <pc:spChg chg="del">
          <ac:chgData name="Alvaro Palacios" userId="e9ac1705-629d-48ad-b253-8fdbab2c933d" providerId="ADAL" clId="{8889C446-0B59-4A24-8310-5ED01FA36692}" dt="2024-03-28T11:51:24.835" v="64"/>
          <ac:spMkLst>
            <pc:docMk/>
            <pc:sldMk cId="1402295964" sldId="277"/>
            <ac:spMk id="5" creationId="{00DC69A9-68F9-463E-AA8B-1FC0EA7F7720}"/>
          </ac:spMkLst>
        </pc:spChg>
      </pc:sldChg>
      <pc:sldChg chg="addSp delSp modSp mod">
        <pc:chgData name="Alvaro Palacios" userId="e9ac1705-629d-48ad-b253-8fdbab2c933d" providerId="ADAL" clId="{8889C446-0B59-4A24-8310-5ED01FA36692}" dt="2024-03-28T11:51:35.473" v="73" actId="20577"/>
        <pc:sldMkLst>
          <pc:docMk/>
          <pc:sldMk cId="2792560978" sldId="278"/>
        </pc:sldMkLst>
        <pc:spChg chg="add mod">
          <ac:chgData name="Alvaro Palacios" userId="e9ac1705-629d-48ad-b253-8fdbab2c933d" providerId="ADAL" clId="{8889C446-0B59-4A24-8310-5ED01FA36692}" dt="2024-03-28T11:51:35.473" v="73" actId="20577"/>
          <ac:spMkLst>
            <pc:docMk/>
            <pc:sldMk cId="2792560978" sldId="278"/>
            <ac:spMk id="2" creationId="{AD29FBEF-EBA5-E3D2-1E8E-4A1089531E1B}"/>
          </ac:spMkLst>
        </pc:spChg>
        <pc:spChg chg="del">
          <ac:chgData name="Alvaro Palacios" userId="e9ac1705-629d-48ad-b253-8fdbab2c933d" providerId="ADAL" clId="{8889C446-0B59-4A24-8310-5ED01FA36692}" dt="2024-03-28T11:51:28.029" v="65"/>
          <ac:spMkLst>
            <pc:docMk/>
            <pc:sldMk cId="2792560978" sldId="278"/>
            <ac:spMk id="6" creationId="{FC317F6B-334E-4387-FBD2-9FD38344081D}"/>
          </ac:spMkLst>
        </pc:spChg>
      </pc:sldChg>
      <pc:sldChg chg="addSp delSp modSp mod">
        <pc:chgData name="Alvaro Palacios" userId="e9ac1705-629d-48ad-b253-8fdbab2c933d" providerId="ADAL" clId="{8889C446-0B59-4A24-8310-5ED01FA36692}" dt="2024-03-28T11:51:10.448" v="63"/>
        <pc:sldMkLst>
          <pc:docMk/>
          <pc:sldMk cId="337796321" sldId="279"/>
        </pc:sldMkLst>
        <pc:spChg chg="add del">
          <ac:chgData name="Alvaro Palacios" userId="e9ac1705-629d-48ad-b253-8fdbab2c933d" providerId="ADAL" clId="{8889C446-0B59-4A24-8310-5ED01FA36692}" dt="2024-03-28T11:50:43.592" v="51"/>
          <ac:spMkLst>
            <pc:docMk/>
            <pc:sldMk cId="337796321" sldId="279"/>
            <ac:spMk id="6" creationId="{1EA5621B-ED92-C0B2-7B0B-E6773856233A}"/>
          </ac:spMkLst>
        </pc:spChg>
        <pc:spChg chg="add mod">
          <ac:chgData name="Alvaro Palacios" userId="e9ac1705-629d-48ad-b253-8fdbab2c933d" providerId="ADAL" clId="{8889C446-0B59-4A24-8310-5ED01FA36692}" dt="2024-03-28T11:50:42.363" v="49"/>
          <ac:spMkLst>
            <pc:docMk/>
            <pc:sldMk cId="337796321" sldId="279"/>
            <ac:spMk id="28" creationId="{814D3712-7865-AAE2-4433-A4967AEE4A8F}"/>
          </ac:spMkLst>
        </pc:spChg>
        <pc:spChg chg="add del mod">
          <ac:chgData name="Alvaro Palacios" userId="e9ac1705-629d-48ad-b253-8fdbab2c933d" providerId="ADAL" clId="{8889C446-0B59-4A24-8310-5ED01FA36692}" dt="2024-03-28T11:51:07.999" v="60" actId="478"/>
          <ac:spMkLst>
            <pc:docMk/>
            <pc:sldMk cId="337796321" sldId="279"/>
            <ac:spMk id="29" creationId="{BD321A8E-40F4-A027-522D-9A394CC8B6A1}"/>
          </ac:spMkLst>
        </pc:spChg>
        <pc:spChg chg="add del mod">
          <ac:chgData name="Alvaro Palacios" userId="e9ac1705-629d-48ad-b253-8fdbab2c933d" providerId="ADAL" clId="{8889C446-0B59-4A24-8310-5ED01FA36692}" dt="2024-03-28T11:51:10.448" v="63"/>
          <ac:spMkLst>
            <pc:docMk/>
            <pc:sldMk cId="337796321" sldId="279"/>
            <ac:spMk id="34" creationId="{09A256C3-F307-3EAA-3726-BB30B19FF48C}"/>
          </ac:spMkLst>
        </pc:spChg>
        <pc:spChg chg="add mod">
          <ac:chgData name="Alvaro Palacios" userId="e9ac1705-629d-48ad-b253-8fdbab2c933d" providerId="ADAL" clId="{8889C446-0B59-4A24-8310-5ED01FA36692}" dt="2024-03-28T11:51:09.177" v="62"/>
          <ac:spMkLst>
            <pc:docMk/>
            <pc:sldMk cId="337796321" sldId="279"/>
            <ac:spMk id="35" creationId="{147F402E-50ED-2EA9-7815-6E6467DF225C}"/>
          </ac:spMkLst>
        </pc:spChg>
        <pc:spChg chg="add mod">
          <ac:chgData name="Alvaro Palacios" userId="e9ac1705-629d-48ad-b253-8fdbab2c933d" providerId="ADAL" clId="{8889C446-0B59-4A24-8310-5ED01FA36692}" dt="2024-03-28T11:51:10.448" v="63"/>
          <ac:spMkLst>
            <pc:docMk/>
            <pc:sldMk cId="337796321" sldId="279"/>
            <ac:spMk id="36" creationId="{AFDF4B1A-86D1-A818-6BF4-DEE1C0448CA1}"/>
          </ac:spMkLst>
        </pc:spChg>
      </pc:sldChg>
    </pc:docChg>
  </pc:docChgLst>
  <pc:docChgLst>
    <pc:chgData name="Alvaro Palacios" userId="e9ac1705-629d-48ad-b253-8fdbab2c933d" providerId="ADAL" clId="{F0C9516C-2035-46E7-BAC1-FD38E2D86C46}"/>
    <pc:docChg chg="custSel addSld modSld sldOrd modSection">
      <pc:chgData name="Alvaro Palacios" userId="e9ac1705-629d-48ad-b253-8fdbab2c933d" providerId="ADAL" clId="{F0C9516C-2035-46E7-BAC1-FD38E2D86C46}" dt="2024-03-08T14:20:51.079" v="174" actId="20577"/>
      <pc:docMkLst>
        <pc:docMk/>
      </pc:docMkLst>
      <pc:sldChg chg="ord">
        <pc:chgData name="Alvaro Palacios" userId="e9ac1705-629d-48ad-b253-8fdbab2c933d" providerId="ADAL" clId="{F0C9516C-2035-46E7-BAC1-FD38E2D86C46}" dt="2024-03-08T14:18:48.828" v="111"/>
        <pc:sldMkLst>
          <pc:docMk/>
          <pc:sldMk cId="2382080454" sldId="260"/>
        </pc:sldMkLst>
      </pc:sldChg>
      <pc:sldChg chg="ord">
        <pc:chgData name="Alvaro Palacios" userId="e9ac1705-629d-48ad-b253-8fdbab2c933d" providerId="ADAL" clId="{F0C9516C-2035-46E7-BAC1-FD38E2D86C46}" dt="2024-03-08T14:19:00.770" v="113"/>
        <pc:sldMkLst>
          <pc:docMk/>
          <pc:sldMk cId="1120727528" sldId="261"/>
        </pc:sldMkLst>
      </pc:sldChg>
      <pc:sldChg chg="modSp mod">
        <pc:chgData name="Alvaro Palacios" userId="e9ac1705-629d-48ad-b253-8fdbab2c933d" providerId="ADAL" clId="{F0C9516C-2035-46E7-BAC1-FD38E2D86C46}" dt="2024-03-08T10:50:27.168" v="89" actId="6549"/>
        <pc:sldMkLst>
          <pc:docMk/>
          <pc:sldMk cId="1921818982" sldId="266"/>
        </pc:sldMkLst>
        <pc:spChg chg="mod">
          <ac:chgData name="Alvaro Palacios" userId="e9ac1705-629d-48ad-b253-8fdbab2c933d" providerId="ADAL" clId="{F0C9516C-2035-46E7-BAC1-FD38E2D86C46}" dt="2024-03-08T10:50:27.168" v="89" actId="6549"/>
          <ac:spMkLst>
            <pc:docMk/>
            <pc:sldMk cId="1921818982" sldId="266"/>
            <ac:spMk id="19" creationId="{17301205-A47C-4C3E-3E65-451BA544ED69}"/>
          </ac:spMkLst>
        </pc:spChg>
        <pc:picChg chg="mod">
          <ac:chgData name="Alvaro Palacios" userId="e9ac1705-629d-48ad-b253-8fdbab2c933d" providerId="ADAL" clId="{F0C9516C-2035-46E7-BAC1-FD38E2D86C46}" dt="2024-03-08T10:45:43.598" v="0" actId="1076"/>
          <ac:picMkLst>
            <pc:docMk/>
            <pc:sldMk cId="1921818982" sldId="266"/>
            <ac:picMk id="119" creationId="{9A9F8FB6-A429-4893-AD9E-F608328AB017}"/>
          </ac:picMkLst>
        </pc:picChg>
      </pc:sldChg>
      <pc:sldChg chg="modSp mod">
        <pc:chgData name="Alvaro Palacios" userId="e9ac1705-629d-48ad-b253-8fdbab2c933d" providerId="ADAL" clId="{F0C9516C-2035-46E7-BAC1-FD38E2D86C46}" dt="2024-03-08T10:55:18.037" v="100" actId="6549"/>
        <pc:sldMkLst>
          <pc:docMk/>
          <pc:sldMk cId="1003250838" sldId="267"/>
        </pc:sldMkLst>
        <pc:spChg chg="mod">
          <ac:chgData name="Alvaro Palacios" userId="e9ac1705-629d-48ad-b253-8fdbab2c933d" providerId="ADAL" clId="{F0C9516C-2035-46E7-BAC1-FD38E2D86C46}" dt="2024-03-08T10:55:18.037" v="100" actId="6549"/>
          <ac:spMkLst>
            <pc:docMk/>
            <pc:sldMk cId="1003250838" sldId="267"/>
            <ac:spMk id="3" creationId="{8B74341A-DF80-EB1A-D033-B7DC7A094C9B}"/>
          </ac:spMkLst>
        </pc:spChg>
        <pc:spChg chg="mod">
          <ac:chgData name="Alvaro Palacios" userId="e9ac1705-629d-48ad-b253-8fdbab2c933d" providerId="ADAL" clId="{F0C9516C-2035-46E7-BAC1-FD38E2D86C46}" dt="2024-03-08T10:50:41.177" v="96" actId="20577"/>
          <ac:spMkLst>
            <pc:docMk/>
            <pc:sldMk cId="1003250838" sldId="267"/>
            <ac:spMk id="22" creationId="{0626AD22-2186-3B1E-4E0B-8ACF634AB143}"/>
          </ac:spMkLst>
        </pc:spChg>
        <pc:picChg chg="mod">
          <ac:chgData name="Alvaro Palacios" userId="e9ac1705-629d-48ad-b253-8fdbab2c933d" providerId="ADAL" clId="{F0C9516C-2035-46E7-BAC1-FD38E2D86C46}" dt="2024-03-08T10:45:51.684" v="1" actId="1076"/>
          <ac:picMkLst>
            <pc:docMk/>
            <pc:sldMk cId="1003250838" sldId="267"/>
            <ac:picMk id="119" creationId="{9A9F8FB6-A429-4893-AD9E-F608328AB017}"/>
          </ac:picMkLst>
        </pc:picChg>
      </pc:sldChg>
      <pc:sldChg chg="addSp modSp mod">
        <pc:chgData name="Alvaro Palacios" userId="e9ac1705-629d-48ad-b253-8fdbab2c933d" providerId="ADAL" clId="{F0C9516C-2035-46E7-BAC1-FD38E2D86C46}" dt="2024-03-08T10:55:27.497" v="101" actId="6549"/>
        <pc:sldMkLst>
          <pc:docMk/>
          <pc:sldMk cId="1763837976" sldId="269"/>
        </pc:sldMkLst>
        <pc:spChg chg="mod">
          <ac:chgData name="Alvaro Palacios" userId="e9ac1705-629d-48ad-b253-8fdbab2c933d" providerId="ADAL" clId="{F0C9516C-2035-46E7-BAC1-FD38E2D86C46}" dt="2024-03-08T10:48:09.372" v="81" actId="20577"/>
          <ac:spMkLst>
            <pc:docMk/>
            <pc:sldMk cId="1763837976" sldId="269"/>
            <ac:spMk id="3" creationId="{8234D057-8C8E-49DE-A8FF-3E2BF4E88D87}"/>
          </ac:spMkLst>
        </pc:spChg>
        <pc:spChg chg="mod">
          <ac:chgData name="Alvaro Palacios" userId="e9ac1705-629d-48ad-b253-8fdbab2c933d" providerId="ADAL" clId="{F0C9516C-2035-46E7-BAC1-FD38E2D86C46}" dt="2024-03-08T10:55:27.497" v="101" actId="6549"/>
          <ac:spMkLst>
            <pc:docMk/>
            <pc:sldMk cId="1763837976" sldId="269"/>
            <ac:spMk id="10" creationId="{766DAF2A-0059-676E-1D22-2D60D0FB695B}"/>
          </ac:spMkLst>
        </pc:spChg>
        <pc:spChg chg="add mod">
          <ac:chgData name="Alvaro Palacios" userId="e9ac1705-629d-48ad-b253-8fdbab2c933d" providerId="ADAL" clId="{F0C9516C-2035-46E7-BAC1-FD38E2D86C46}" dt="2024-03-08T10:47:38.328" v="41" actId="1076"/>
          <ac:spMkLst>
            <pc:docMk/>
            <pc:sldMk cId="1763837976" sldId="269"/>
            <ac:spMk id="16" creationId="{7635A29A-FC45-3DDD-FD67-E5751171A023}"/>
          </ac:spMkLst>
        </pc:spChg>
      </pc:sldChg>
      <pc:sldChg chg="addSp modSp mod">
        <pc:chgData name="Alvaro Palacios" userId="e9ac1705-629d-48ad-b253-8fdbab2c933d" providerId="ADAL" clId="{F0C9516C-2035-46E7-BAC1-FD38E2D86C46}" dt="2024-03-08T10:55:35.633" v="104" actId="1076"/>
        <pc:sldMkLst>
          <pc:docMk/>
          <pc:sldMk cId="1606828070" sldId="270"/>
        </pc:sldMkLst>
        <pc:spChg chg="add mod">
          <ac:chgData name="Alvaro Palacios" userId="e9ac1705-629d-48ad-b253-8fdbab2c933d" providerId="ADAL" clId="{F0C9516C-2035-46E7-BAC1-FD38E2D86C46}" dt="2024-03-08T10:46:05.916" v="4" actId="1076"/>
          <ac:spMkLst>
            <pc:docMk/>
            <pc:sldMk cId="1606828070" sldId="270"/>
            <ac:spMk id="5" creationId="{10786669-6AE7-8E9B-FE07-84C8D38E8939}"/>
          </ac:spMkLst>
        </pc:spChg>
        <pc:spChg chg="add mod">
          <ac:chgData name="Alvaro Palacios" userId="e9ac1705-629d-48ad-b253-8fdbab2c933d" providerId="ADAL" clId="{F0C9516C-2035-46E7-BAC1-FD38E2D86C46}" dt="2024-03-08T10:55:35.633" v="104" actId="1076"/>
          <ac:spMkLst>
            <pc:docMk/>
            <pc:sldMk cId="1606828070" sldId="270"/>
            <ac:spMk id="6" creationId="{1403999E-F461-2EC2-5BAA-7AAA4BC8BB07}"/>
          </ac:spMkLst>
        </pc:spChg>
      </pc:sldChg>
      <pc:sldChg chg="ord">
        <pc:chgData name="Alvaro Palacios" userId="e9ac1705-629d-48ad-b253-8fdbab2c933d" providerId="ADAL" clId="{F0C9516C-2035-46E7-BAC1-FD38E2D86C46}" dt="2024-03-08T14:18:43.889" v="109"/>
        <pc:sldMkLst>
          <pc:docMk/>
          <pc:sldMk cId="1192429160" sldId="275"/>
        </pc:sldMkLst>
      </pc:sldChg>
      <pc:sldChg chg="modSp mod">
        <pc:chgData name="Alvaro Palacios" userId="e9ac1705-629d-48ad-b253-8fdbab2c933d" providerId="ADAL" clId="{F0C9516C-2035-46E7-BAC1-FD38E2D86C46}" dt="2024-03-08T10:50:21.237" v="88" actId="6549"/>
        <pc:sldMkLst>
          <pc:docMk/>
          <pc:sldMk cId="1139885304" sldId="2147469033"/>
        </pc:sldMkLst>
        <pc:spChg chg="mod">
          <ac:chgData name="Alvaro Palacios" userId="e9ac1705-629d-48ad-b253-8fdbab2c933d" providerId="ADAL" clId="{F0C9516C-2035-46E7-BAC1-FD38E2D86C46}" dt="2024-03-08T10:50:21.237" v="88" actId="6549"/>
          <ac:spMkLst>
            <pc:docMk/>
            <pc:sldMk cId="1139885304" sldId="2147469033"/>
            <ac:spMk id="75" creationId="{21836014-F793-077C-8A62-3101D3D21C42}"/>
          </ac:spMkLst>
        </pc:spChg>
      </pc:sldChg>
      <pc:sldChg chg="addSp delSp modSp add mod modClrScheme chgLayout">
        <pc:chgData name="Alvaro Palacios" userId="e9ac1705-629d-48ad-b253-8fdbab2c933d" providerId="ADAL" clId="{F0C9516C-2035-46E7-BAC1-FD38E2D86C46}" dt="2024-03-08T14:20:51.079" v="174" actId="20577"/>
        <pc:sldMkLst>
          <pc:docMk/>
          <pc:sldMk cId="3011243851" sldId="2147469098"/>
        </pc:sldMkLst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2" creationId="{E4A5BDB0-EC95-881F-D084-6009C5D7739F}"/>
          </ac:spMkLst>
        </pc:spChg>
        <pc:spChg chg="mod ord">
          <ac:chgData name="Alvaro Palacios" userId="e9ac1705-629d-48ad-b253-8fdbab2c933d" providerId="ADAL" clId="{F0C9516C-2035-46E7-BAC1-FD38E2D86C46}" dt="2024-03-08T14:20:51.079" v="174" actId="20577"/>
          <ac:spMkLst>
            <pc:docMk/>
            <pc:sldMk cId="3011243851" sldId="2147469098"/>
            <ac:spMk id="3" creationId="{73AF70F5-E67C-00C7-4F2A-78A51191DA2F}"/>
          </ac:spMkLst>
        </pc:spChg>
        <pc:spChg chg="del mod ord">
          <ac:chgData name="Alvaro Palacios" userId="e9ac1705-629d-48ad-b253-8fdbab2c933d" providerId="ADAL" clId="{F0C9516C-2035-46E7-BAC1-FD38E2D86C46}" dt="2024-03-08T14:19:41.441" v="120" actId="478"/>
          <ac:spMkLst>
            <pc:docMk/>
            <pc:sldMk cId="3011243851" sldId="2147469098"/>
            <ac:spMk id="4" creationId="{CBD06D0E-3A2A-8A45-2BA1-D52FC2395A48}"/>
          </ac:spMkLst>
        </pc:spChg>
        <pc:spChg chg="del">
          <ac:chgData name="Alvaro Palacios" userId="e9ac1705-629d-48ad-b253-8fdbab2c933d" providerId="ADAL" clId="{F0C9516C-2035-46E7-BAC1-FD38E2D86C46}" dt="2024-03-08T14:19:53.369" v="122" actId="478"/>
          <ac:spMkLst>
            <pc:docMk/>
            <pc:sldMk cId="3011243851" sldId="2147469098"/>
            <ac:spMk id="5" creationId="{EB2233A1-83E9-2E3E-42FE-AC90609B21EA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7" creationId="{1BF41A87-A4A1-593F-1F52-8F4A5756A209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8" creationId="{95058D21-E315-49EA-7C2F-50145868F04D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9" creationId="{19EC2FC1-A483-AE94-3C0A-F52B3F6BE454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23" creationId="{4E0573EA-010A-75B5-35C0-FBFAA1BBF24E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24" creationId="{BC34CD51-1A62-392D-ACF6-2F7565689F52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25" creationId="{31442A5E-D750-20D7-D9A7-0237F56278C4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26" creationId="{F7618C20-2342-9D30-48E8-396C16E70560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27" creationId="{E88E1AE8-1FFD-0EBE-BBC7-06621B18F982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28" creationId="{822FE510-D6DF-DED0-7E38-581646D669C3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118" creationId="{FD5DEA92-5ECC-D0B0-D627-53F8AE33B628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121" creationId="{4DB97E4A-727A-2B95-C040-839C2C97F4F4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122" creationId="{8E40B551-8FEA-51CA-3C8C-2AB717CE09A2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124" creationId="{273C39F5-3CF9-F511-7A85-13704CE64411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127" creationId="{D45CE806-31F8-571F-778B-BC116EE9A16A}"/>
          </ac:spMkLst>
        </pc:spChg>
        <pc:spChg chg="add del mod ord">
          <ac:chgData name="Alvaro Palacios" userId="e9ac1705-629d-48ad-b253-8fdbab2c933d" providerId="ADAL" clId="{F0C9516C-2035-46E7-BAC1-FD38E2D86C46}" dt="2024-03-08T14:19:29.120" v="117" actId="700"/>
          <ac:spMkLst>
            <pc:docMk/>
            <pc:sldMk cId="3011243851" sldId="2147469098"/>
            <ac:spMk id="128" creationId="{B771851C-2450-4B71-A6DB-A4CBAC0B0C9F}"/>
          </ac:spMkLst>
        </pc:spChg>
        <pc:spChg chg="add mod ord">
          <ac:chgData name="Alvaro Palacios" userId="e9ac1705-629d-48ad-b253-8fdbab2c933d" providerId="ADAL" clId="{F0C9516C-2035-46E7-BAC1-FD38E2D86C46}" dt="2024-03-08T14:19:35.259" v="119"/>
          <ac:spMkLst>
            <pc:docMk/>
            <pc:sldMk cId="3011243851" sldId="2147469098"/>
            <ac:spMk id="129" creationId="{EAABE0B3-6C74-E253-6B15-68F1A20A20F2}"/>
          </ac:spMkLst>
        </pc:spChg>
        <pc:spChg chg="add del mod ord">
          <ac:chgData name="Alvaro Palacios" userId="e9ac1705-629d-48ad-b253-8fdbab2c933d" providerId="ADAL" clId="{F0C9516C-2035-46E7-BAC1-FD38E2D86C46}" dt="2024-03-08T14:19:46.282" v="121" actId="478"/>
          <ac:spMkLst>
            <pc:docMk/>
            <pc:sldMk cId="3011243851" sldId="2147469098"/>
            <ac:spMk id="130" creationId="{73DA847D-F97D-0307-96E9-19EF00D24C21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137" creationId="{29748782-BD4C-893C-944D-63EE0ACF7839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138" creationId="{61C8EE45-0D5E-E6BD-EF93-73A37F648A99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139" creationId="{C2A77F21-5F4A-FEB5-02A0-1091183E79A1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140" creationId="{68E50BE8-CF6F-87B1-03CA-C14ECE3DB716}"/>
          </ac:spMkLst>
        </pc:spChg>
        <pc:spChg chg="mod">
          <ac:chgData name="Alvaro Palacios" userId="e9ac1705-629d-48ad-b253-8fdbab2c933d" providerId="ADAL" clId="{F0C9516C-2035-46E7-BAC1-FD38E2D86C46}" dt="2024-03-08T14:20:38.735" v="144" actId="1036"/>
          <ac:spMkLst>
            <pc:docMk/>
            <pc:sldMk cId="3011243851" sldId="2147469098"/>
            <ac:spMk id="141" creationId="{769B139F-2C5C-83F7-D9AD-A3CC904F8E41}"/>
          </ac:spMkLst>
        </pc:s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11" creationId="{2A8FE62D-B785-16A3-77D3-948AA935A5CF}"/>
          </ac:grpSpMkLst>
        </pc:gr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32" creationId="{160A13F9-8E4C-324B-7263-BF00ECC7042B}"/>
          </ac:grpSpMkLst>
        </pc:gr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39" creationId="{AC865055-26CE-693B-ACE3-DAFC1994527D}"/>
          </ac:grpSpMkLst>
        </pc:gr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52" creationId="{1354AE27-619F-EAB1-6CC2-7C0BE920395E}"/>
          </ac:grpSpMkLst>
        </pc:gr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65" creationId="{920B24CD-6E31-8F9A-B5DA-2807CE118AE5}"/>
          </ac:grpSpMkLst>
        </pc:gr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75" creationId="{42E8AB09-6CA2-9330-67FC-B864ACD24613}"/>
          </ac:grpSpMkLst>
        </pc:gr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83" creationId="{C0D14ADF-ADC4-D4B2-B421-B431AEB1F7F7}"/>
          </ac:grpSpMkLst>
        </pc:gr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91" creationId="{D83287FA-85DC-CCA6-8CC8-59F682FB0675}"/>
          </ac:grpSpMkLst>
        </pc:gr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99" creationId="{B46DE369-5E1B-3F7C-9385-22D4D64C9932}"/>
          </ac:grpSpMkLst>
        </pc:gr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104" creationId="{7616FA0A-5FA9-2180-7694-E974285CFE60}"/>
          </ac:grpSpMkLst>
        </pc:gr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109" creationId="{E86649E0-C889-EACD-D54D-5508A8C92FF1}"/>
          </ac:grpSpMkLst>
        </pc:grpChg>
        <pc:grpChg chg="mod">
          <ac:chgData name="Alvaro Palacios" userId="e9ac1705-629d-48ad-b253-8fdbab2c933d" providerId="ADAL" clId="{F0C9516C-2035-46E7-BAC1-FD38E2D86C46}" dt="2024-03-08T14:20:38.735" v="144" actId="1036"/>
          <ac:grpSpMkLst>
            <pc:docMk/>
            <pc:sldMk cId="3011243851" sldId="2147469098"/>
            <ac:grpSpMk id="113" creationId="{F517E8D3-A625-1625-0D81-B92645AB727B}"/>
          </ac:grpSpMkLst>
        </pc:grpChg>
        <pc:picChg chg="mod">
          <ac:chgData name="Alvaro Palacios" userId="e9ac1705-629d-48ad-b253-8fdbab2c933d" providerId="ADAL" clId="{F0C9516C-2035-46E7-BAC1-FD38E2D86C46}" dt="2024-03-08T14:20:38.735" v="144" actId="1036"/>
          <ac:picMkLst>
            <pc:docMk/>
            <pc:sldMk cId="3011243851" sldId="2147469098"/>
            <ac:picMk id="21" creationId="{352F3064-C505-55F5-29EE-952928CC614A}"/>
          </ac:picMkLst>
        </pc:picChg>
        <pc:picChg chg="mod">
          <ac:chgData name="Alvaro Palacios" userId="e9ac1705-629d-48ad-b253-8fdbab2c933d" providerId="ADAL" clId="{F0C9516C-2035-46E7-BAC1-FD38E2D86C46}" dt="2024-03-08T14:20:38.735" v="144" actId="1036"/>
          <ac:picMkLst>
            <pc:docMk/>
            <pc:sldMk cId="3011243851" sldId="2147469098"/>
            <ac:picMk id="62" creationId="{A0F64FE6-13E3-C6A7-2BE5-4A4867E2F287}"/>
          </ac:picMkLst>
        </pc:picChg>
        <pc:picChg chg="mod">
          <ac:chgData name="Alvaro Palacios" userId="e9ac1705-629d-48ad-b253-8fdbab2c933d" providerId="ADAL" clId="{F0C9516C-2035-46E7-BAC1-FD38E2D86C46}" dt="2024-03-08T14:20:38.735" v="144" actId="1036"/>
          <ac:picMkLst>
            <pc:docMk/>
            <pc:sldMk cId="3011243851" sldId="2147469098"/>
            <ac:picMk id="63" creationId="{075B46FB-C2B0-D3C9-87C5-E4B8A6C3F44A}"/>
          </ac:picMkLst>
        </pc:picChg>
        <pc:picChg chg="mod">
          <ac:chgData name="Alvaro Palacios" userId="e9ac1705-629d-48ad-b253-8fdbab2c933d" providerId="ADAL" clId="{F0C9516C-2035-46E7-BAC1-FD38E2D86C46}" dt="2024-03-08T14:20:38.735" v="144" actId="1036"/>
          <ac:picMkLst>
            <pc:docMk/>
            <pc:sldMk cId="3011243851" sldId="2147469098"/>
            <ac:picMk id="64" creationId="{AFE5667A-7A8F-41EF-AB05-EC4659877DB9}"/>
          </ac:picMkLst>
        </pc:picChg>
        <pc:picChg chg="mod">
          <ac:chgData name="Alvaro Palacios" userId="e9ac1705-629d-48ad-b253-8fdbab2c933d" providerId="ADAL" clId="{F0C9516C-2035-46E7-BAC1-FD38E2D86C46}" dt="2024-03-08T14:20:38.735" v="144" actId="1036"/>
          <ac:picMkLst>
            <pc:docMk/>
            <pc:sldMk cId="3011243851" sldId="2147469098"/>
            <ac:picMk id="102" creationId="{9340220E-694D-F54A-A78F-79C66D8B21B6}"/>
          </ac:picMkLst>
        </pc:picChg>
        <pc:picChg chg="mod">
          <ac:chgData name="Alvaro Palacios" userId="e9ac1705-629d-48ad-b253-8fdbab2c933d" providerId="ADAL" clId="{F0C9516C-2035-46E7-BAC1-FD38E2D86C46}" dt="2024-03-08T14:20:38.735" v="144" actId="1036"/>
          <ac:picMkLst>
            <pc:docMk/>
            <pc:sldMk cId="3011243851" sldId="2147469098"/>
            <ac:picMk id="107" creationId="{320B5DF0-F225-6A1B-EE97-EBD727A640D0}"/>
          </ac:picMkLst>
        </pc:picChg>
        <pc:picChg chg="mod">
          <ac:chgData name="Alvaro Palacios" userId="e9ac1705-629d-48ad-b253-8fdbab2c933d" providerId="ADAL" clId="{F0C9516C-2035-46E7-BAC1-FD38E2D86C46}" dt="2024-03-08T14:20:38.735" v="144" actId="1036"/>
          <ac:picMkLst>
            <pc:docMk/>
            <pc:sldMk cId="3011243851" sldId="2147469098"/>
            <ac:picMk id="116" creationId="{C7345DAD-9CA6-22B7-379F-12CE8E6B9281}"/>
          </ac:picMkLst>
        </pc:pic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6" creationId="{C21FD052-42CF-ADC8-D0BF-0A04E66FD2E9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10" creationId="{37A85914-CC4B-69B3-756E-9C086A642092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22" creationId="{8235A9B2-AFF7-FC7F-A8FF-A22C7E6F0982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29" creationId="{D5AFDEC8-32B0-5301-A48E-8AF2FC5B84D0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30" creationId="{898AFCCF-85EC-600B-0E2D-4E083FF2EF22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31" creationId="{CA0871BE-B379-53B5-A4A7-7CBB5725097F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103" creationId="{44E310AC-F2CF-2435-9BDE-5DAAC948C612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108" creationId="{473788F5-6343-8597-F136-929C6EB5AE04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112" creationId="{26958C82-EEDB-F035-21CC-ACB13FA2595C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117" creationId="{EF7A2161-2425-6BCF-E808-26E07C64ABBE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119" creationId="{FA4B60C1-619F-DC1B-FB76-542356498EBD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120" creationId="{C244BB76-CBAE-0944-4654-1263045BEA2D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123" creationId="{794A60D3-4743-C450-857C-87C340A0F469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125" creationId="{E283F14A-28DA-38D3-F74D-1A726C0092FE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126" creationId="{1796C7FF-E39A-749D-0862-41B170CEA1C2}"/>
          </ac:cxnSpMkLst>
        </pc:cxnChg>
        <pc:cxnChg chg="mod">
          <ac:chgData name="Alvaro Palacios" userId="e9ac1705-629d-48ad-b253-8fdbab2c933d" providerId="ADAL" clId="{F0C9516C-2035-46E7-BAC1-FD38E2D86C46}" dt="2024-03-08T14:20:38.735" v="144" actId="1036"/>
          <ac:cxnSpMkLst>
            <pc:docMk/>
            <pc:sldMk cId="3011243851" sldId="2147469098"/>
            <ac:cxnSpMk id="131" creationId="{D077E615-C705-0773-5BFA-61CAA81AF132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4B570B7-D69D-8DA2-462B-C878CD3E6A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AE97F9-BA58-23B9-0185-F21B203B3B5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743094-6F16-5A21-004B-F387B30DA7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C65513-F6F0-B44D-87EC-52ED2F81CB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199249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3-27T11:00:20.39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8,'68'-8,"-19"-1,77-1,191 9,-302 3,0 0,0 1,-1 1,0 0,27 12,-7-3,-21-9,1-1,-1 0,1-1,-1-1,24 0,-21-1,1 1,-1 1,24 5,-19-2,1-1,29 2,-28-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3-27T11:00:30.69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2,'308'-1,"322"3,-377 11,33 1,576-15,-647 15,-2 1,271-12,495 10,747 0,-1066-16,1357 3,-1769-20,-178 12,66-18,-101 17,0 2,1 1,50-2,-49 10,-23-1,0-1,0 0,0-1,25-4,-21-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3-27T11:00:34.86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58,'1102'53,"-535"-20,2-34,-553 1,659-15,252-1,2275 17,-3171-3,1-1,30-7,20-2,482-61,-447 62,-87 1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9B17D6-D9A8-D847-8F91-B91B380ED254}" type="datetime1">
              <a:rPr lang="en-US" smtClean="0"/>
              <a:t>3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E009A8-0C93-E046-9A12-3E9DA893E9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023752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D9B17D6-D9A8-D847-8F91-B91B380ED254}" type="datetime1">
              <a:rPr lang="en-US" smtClean="0"/>
              <a:t>3/28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009A8-0C93-E046-9A12-3E9DA893E99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211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D5D63AA0-83D5-6AD3-2D92-4C78A0C59F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77" y="0"/>
            <a:ext cx="12192000" cy="6858000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3FC4B43D-40E5-215E-199A-669555AB43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74" y="1811992"/>
            <a:ext cx="5645426" cy="230917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verarching cover slide for all use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F1F0BF3-9EE8-74E5-293F-EE8C88481C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74" y="4275802"/>
            <a:ext cx="5645426" cy="365126"/>
          </a:xfrm>
        </p:spPr>
        <p:txBody>
          <a:bodyPr anchor="ctr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29AF862F-D761-E769-9D25-E9A311030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850" y="5102124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1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31C66497-2842-3EEA-AAA4-9E1F67E927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574" y="5396346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C19CD83D-10D9-5471-79E0-A813BEB5A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297" y="6104862"/>
            <a:ext cx="5645426" cy="270772"/>
          </a:xfrm>
        </p:spPr>
        <p:txBody>
          <a:bodyPr anchor="ctr">
            <a:noAutofit/>
          </a:bodyPr>
          <a:lstStyle>
            <a:lvl1pPr marL="0" indent="0">
              <a:buNone/>
              <a:defRPr sz="1200" b="0" i="0">
                <a:solidFill>
                  <a:schemeClr val="accent6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Optional Da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434EEFA-9B63-F89B-7B17-B6F8912D3E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3111" y="283678"/>
            <a:ext cx="1741194" cy="967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347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D6199-7E4E-EC3E-01B7-27A061D65B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99" y="2231551"/>
            <a:ext cx="5645426" cy="187513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ata Integration divider slid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96EA256-34A4-5996-DCC4-F4ADF47333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99" y="4261323"/>
            <a:ext cx="5645427" cy="876734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B7888F5-ED04-B7C0-428C-F88F2D92C7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7238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D6199-7E4E-EC3E-01B7-27A061D65B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99" y="2231551"/>
            <a:ext cx="5645426" cy="187513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I/Automation</a:t>
            </a:r>
            <a:br>
              <a:rPr lang="en-US" dirty="0"/>
            </a:br>
            <a:r>
              <a:rPr lang="en-US" dirty="0"/>
              <a:t>divider slid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96EA256-34A4-5996-DCC4-F4ADF47333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99" y="4261323"/>
            <a:ext cx="5645427" cy="876733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7F54775-4409-FA0E-1918-BDE657018F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3181" t="53449" r="4109" b="2530"/>
          <a:stretch/>
        </p:blipFill>
        <p:spPr>
          <a:xfrm>
            <a:off x="0" y="-1"/>
            <a:ext cx="6095999" cy="6283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15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6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D6199-7E4E-EC3E-01B7-27A061D65B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71" y="2584918"/>
            <a:ext cx="5645426" cy="146366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I/Automation</a:t>
            </a:r>
            <a:br>
              <a:rPr lang="en-US" dirty="0"/>
            </a:br>
            <a:r>
              <a:rPr lang="en-US" dirty="0"/>
              <a:t>divider slid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96EA256-34A4-5996-DCC4-F4ADF47333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71" y="4203220"/>
            <a:ext cx="5645427" cy="876734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61E1775-A956-58F2-BFA3-F17F4CF652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0000" t="38580" b="13708"/>
          <a:stretch/>
        </p:blipFill>
        <p:spPr>
          <a:xfrm flipH="1">
            <a:off x="5005180" y="0"/>
            <a:ext cx="71868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96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0058478C-391D-7C7E-2C6A-2ABA668A05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88955" y="772198"/>
            <a:ext cx="2533830" cy="312176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accent1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15754FC0-BCD4-FF89-6C43-EB0FB0D48C2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88954" y="1084374"/>
            <a:ext cx="2533831" cy="60664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ts val="100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.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6C254C9F-B4F7-BCB1-A3CD-100FAC2287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88954" y="2736589"/>
            <a:ext cx="2533830" cy="312176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accent2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856435AF-B0F2-25D6-2D1E-DA249F6CF9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88953" y="3048765"/>
            <a:ext cx="2533831" cy="60664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ts val="100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.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CAA20ED5-C993-E12B-C725-0C6F829C4EC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60080" y="4734675"/>
            <a:ext cx="2533830" cy="312176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accent3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E49D86B6-48D2-C999-6FE3-1FA49C461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0079" y="5046851"/>
            <a:ext cx="2533831" cy="60664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ts val="100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.</a:t>
            </a:r>
          </a:p>
        </p:txBody>
      </p:sp>
      <p:sp>
        <p:nvSpPr>
          <p:cNvPr id="38" name="Text Placeholder 24">
            <a:extLst>
              <a:ext uri="{FF2B5EF4-FFF2-40B4-BE49-F238E27FC236}">
                <a16:creationId xmlns:a16="http://schemas.microsoft.com/office/drawing/2014/main" id="{8432D35A-5207-5517-8B62-F09F55FF7DF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08481" y="769276"/>
            <a:ext cx="2533830" cy="312176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accent1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7E926548-E618-967B-2757-DE80AC5DFE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08480" y="1081452"/>
            <a:ext cx="2533831" cy="60664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ts val="100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.</a:t>
            </a:r>
          </a:p>
        </p:txBody>
      </p:sp>
      <p:sp>
        <p:nvSpPr>
          <p:cNvPr id="41" name="Text Placeholder 24">
            <a:extLst>
              <a:ext uri="{FF2B5EF4-FFF2-40B4-BE49-F238E27FC236}">
                <a16:creationId xmlns:a16="http://schemas.microsoft.com/office/drawing/2014/main" id="{9049CEC8-CF6D-2E4C-1A6B-66BC6879FF0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08480" y="2745835"/>
            <a:ext cx="2533830" cy="312176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accent2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2" name="Text Placeholder 24">
            <a:extLst>
              <a:ext uri="{FF2B5EF4-FFF2-40B4-BE49-F238E27FC236}">
                <a16:creationId xmlns:a16="http://schemas.microsoft.com/office/drawing/2014/main" id="{6D74E6FE-78EB-9A04-4843-7898E6204A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08479" y="3058011"/>
            <a:ext cx="2533831" cy="60664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ts val="100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.</a:t>
            </a:r>
          </a:p>
        </p:txBody>
      </p:sp>
      <p:sp>
        <p:nvSpPr>
          <p:cNvPr id="44" name="Text Placeholder 24">
            <a:extLst>
              <a:ext uri="{FF2B5EF4-FFF2-40B4-BE49-F238E27FC236}">
                <a16:creationId xmlns:a16="http://schemas.microsoft.com/office/drawing/2014/main" id="{83204BF7-2D57-A4E3-238F-38B7DA49D5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8480" y="4734675"/>
            <a:ext cx="2533830" cy="312176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accent3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5" name="Text Placeholder 24">
            <a:extLst>
              <a:ext uri="{FF2B5EF4-FFF2-40B4-BE49-F238E27FC236}">
                <a16:creationId xmlns:a16="http://schemas.microsoft.com/office/drawing/2014/main" id="{6A4C301D-28CA-8069-8CAF-248ADC83BB2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8479" y="5046851"/>
            <a:ext cx="2533831" cy="60664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ts val="1000"/>
              </a:spcBef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.</a:t>
            </a:r>
          </a:p>
        </p:txBody>
      </p:sp>
      <p:pic>
        <p:nvPicPr>
          <p:cNvPr id="9" name="Picture 8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DF7D1E1D-A0AB-B3C2-F342-BF4BB539D7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840"/>
            <a:ext cx="6096000" cy="58789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42B38840-7A94-7206-D1BC-A85087AFF8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133" y="6101755"/>
            <a:ext cx="961259" cy="534033"/>
          </a:xfrm>
          <a:prstGeom prst="rect">
            <a:avLst/>
          </a:prstGeom>
        </p:spPr>
      </p:pic>
      <p:pic>
        <p:nvPicPr>
          <p:cNvPr id="21" name="Picture 20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3B048BF8-4C94-4C13-8044-21E9DB3932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342" t="84856"/>
          <a:stretch/>
        </p:blipFill>
        <p:spPr>
          <a:xfrm>
            <a:off x="2246243" y="5829375"/>
            <a:ext cx="9955696" cy="1038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2124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0058478C-391D-7C7E-2C6A-2ABA668A05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88955" y="769275"/>
            <a:ext cx="2533830" cy="918819"/>
          </a:xfrm>
        </p:spPr>
        <p:txBody>
          <a:bodyPr anchor="ctr">
            <a:noAutofit/>
          </a:bodyPr>
          <a:lstStyle>
            <a:lvl1pPr marL="0" indent="0">
              <a:buNone/>
              <a:defRPr b="1" i="0">
                <a:solidFill>
                  <a:schemeClr val="accent1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6C254C9F-B4F7-BCB1-A3CD-100FAC2287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88954" y="2734334"/>
            <a:ext cx="2533830" cy="918820"/>
          </a:xfrm>
        </p:spPr>
        <p:txBody>
          <a:bodyPr anchor="ctr">
            <a:noAutofit/>
          </a:bodyPr>
          <a:lstStyle>
            <a:lvl1pPr marL="0" indent="0">
              <a:buNone/>
              <a:defRPr b="1" i="0">
                <a:solidFill>
                  <a:schemeClr val="accent2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CAA20ED5-C993-E12B-C725-0C6F829C4EC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60080" y="4708725"/>
            <a:ext cx="2533830" cy="918820"/>
          </a:xfrm>
        </p:spPr>
        <p:txBody>
          <a:bodyPr anchor="ctr">
            <a:noAutofit/>
          </a:bodyPr>
          <a:lstStyle>
            <a:lvl1pPr marL="0" indent="0">
              <a:buNone/>
              <a:defRPr b="1" i="0">
                <a:solidFill>
                  <a:schemeClr val="accent3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8" name="Text Placeholder 24">
            <a:extLst>
              <a:ext uri="{FF2B5EF4-FFF2-40B4-BE49-F238E27FC236}">
                <a16:creationId xmlns:a16="http://schemas.microsoft.com/office/drawing/2014/main" id="{8432D35A-5207-5517-8B62-F09F55FF7DF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08480" y="759521"/>
            <a:ext cx="2533830" cy="928575"/>
          </a:xfrm>
        </p:spPr>
        <p:txBody>
          <a:bodyPr anchor="ctr">
            <a:noAutofit/>
          </a:bodyPr>
          <a:lstStyle>
            <a:lvl1pPr marL="0" indent="0">
              <a:buNone/>
              <a:defRPr b="1" i="0">
                <a:solidFill>
                  <a:schemeClr val="accent1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24">
            <a:extLst>
              <a:ext uri="{FF2B5EF4-FFF2-40B4-BE49-F238E27FC236}">
                <a16:creationId xmlns:a16="http://schemas.microsoft.com/office/drawing/2014/main" id="{9049CEC8-CF6D-2E4C-1A6B-66BC6879FF0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04322" y="2734335"/>
            <a:ext cx="2533830" cy="877624"/>
          </a:xfrm>
        </p:spPr>
        <p:txBody>
          <a:bodyPr anchor="ctr">
            <a:noAutofit/>
          </a:bodyPr>
          <a:lstStyle>
            <a:lvl1pPr marL="0" indent="0">
              <a:buNone/>
              <a:defRPr b="1" i="0">
                <a:solidFill>
                  <a:schemeClr val="accent2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4" name="Text Placeholder 24">
            <a:extLst>
              <a:ext uri="{FF2B5EF4-FFF2-40B4-BE49-F238E27FC236}">
                <a16:creationId xmlns:a16="http://schemas.microsoft.com/office/drawing/2014/main" id="{83204BF7-2D57-A4E3-238F-38B7DA49D5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8480" y="4708725"/>
            <a:ext cx="2533830" cy="918820"/>
          </a:xfrm>
        </p:spPr>
        <p:txBody>
          <a:bodyPr anchor="ctr">
            <a:noAutofit/>
          </a:bodyPr>
          <a:lstStyle>
            <a:lvl1pPr marL="0" indent="0">
              <a:buNone/>
              <a:defRPr b="1" i="0">
                <a:solidFill>
                  <a:schemeClr val="accent3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9" name="Picture 8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DF7D1E1D-A0AB-B3C2-F342-BF4BB539D7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840"/>
            <a:ext cx="6096000" cy="58789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42B38840-7A94-7206-D1BC-A85087AFF8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133" y="6101755"/>
            <a:ext cx="961259" cy="534033"/>
          </a:xfrm>
          <a:prstGeom prst="rect">
            <a:avLst/>
          </a:prstGeom>
        </p:spPr>
      </p:pic>
      <p:pic>
        <p:nvPicPr>
          <p:cNvPr id="21" name="Picture 20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3B048BF8-4C94-4C13-8044-21E9DB3932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342" t="84856"/>
          <a:stretch/>
        </p:blipFill>
        <p:spPr>
          <a:xfrm>
            <a:off x="2246243" y="5829375"/>
            <a:ext cx="9955696" cy="1038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3939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300C71-73F6-E27E-A89C-C30F052C6E6E}"/>
              </a:ext>
            </a:extLst>
          </p:cNvPr>
          <p:cNvSpPr/>
          <p:nvPr userDrawn="1"/>
        </p:nvSpPr>
        <p:spPr>
          <a:xfrm>
            <a:off x="0" y="0"/>
            <a:ext cx="284710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12CEF313-4E82-4E05-E919-45A6ADE24A6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633234" y="759522"/>
            <a:ext cx="7774996" cy="5338230"/>
          </a:xfrm>
        </p:spPr>
        <p:txBody>
          <a:bodyPr>
            <a:noAutofit/>
          </a:bodyPr>
          <a:lstStyle>
            <a:lvl1pPr>
              <a:buClr>
                <a:schemeClr val="bg2"/>
              </a:buCl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F429545-9952-A80B-8C58-D61954A0FD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133" y="6097752"/>
            <a:ext cx="961259" cy="534033"/>
          </a:xfrm>
          <a:prstGeom prst="rect">
            <a:avLst/>
          </a:prstGeom>
        </p:spPr>
      </p:pic>
      <p:pic>
        <p:nvPicPr>
          <p:cNvPr id="4" name="Picture 3" descr="A green and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C815499-EBF4-4487-3194-C4879D9616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7820" t="32000"/>
          <a:stretch/>
        </p:blipFill>
        <p:spPr>
          <a:xfrm>
            <a:off x="0" y="-1"/>
            <a:ext cx="5610112" cy="1477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3416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08485D64-40C9-27C1-86DF-DD3B4FC96C00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3633233" y="759521"/>
            <a:ext cx="8108193" cy="4537308"/>
          </a:xfrm>
        </p:spPr>
        <p:txBody>
          <a:bodyPr anchor="t">
            <a:noAutofit/>
          </a:bodyPr>
          <a:lstStyle>
            <a:lvl1pPr marL="457200" indent="-45720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24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enter text</a:t>
            </a:r>
          </a:p>
        </p:txBody>
      </p:sp>
      <p:pic>
        <p:nvPicPr>
          <p:cNvPr id="19" name="Picture 18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0B9A3DA7-829B-DEA1-21F1-97B56CCF9C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840"/>
            <a:ext cx="6096000" cy="587891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1612D97-B414-57E0-B5EF-93E400CFD0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133" y="6101755"/>
            <a:ext cx="961259" cy="534033"/>
          </a:xfrm>
          <a:prstGeom prst="rect">
            <a:avLst/>
          </a:prstGeom>
        </p:spPr>
      </p:pic>
      <p:pic>
        <p:nvPicPr>
          <p:cNvPr id="7" name="Picture 6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8F4C0CC8-EB18-86FF-6BE9-11ECCB4FF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342" t="84856"/>
          <a:stretch/>
        </p:blipFill>
        <p:spPr>
          <a:xfrm>
            <a:off x="2246243" y="5829375"/>
            <a:ext cx="9955696" cy="1038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1375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w/ Contr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FA2791E-F6D3-B661-BD3F-3DCD8E5B1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689" y="1836431"/>
            <a:ext cx="11291736" cy="419623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F6E8D7C-BCD2-BF09-E007-0B3E40E78D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998226" y="637059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940A5A4-F7F8-6AE6-7462-D71B5D3F8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5"/>
            <a:ext cx="11291736" cy="577716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2F47D7E-344A-96C0-38DE-837E5CE2267F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449690" y="1057632"/>
            <a:ext cx="11291736" cy="429208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5" name="Picture 14" descr="A black background with a green line&#10;&#10;Description automatically generated">
            <a:extLst>
              <a:ext uri="{FF2B5EF4-FFF2-40B4-BE49-F238E27FC236}">
                <a16:creationId xmlns:a16="http://schemas.microsoft.com/office/drawing/2014/main" id="{98AAB693-A520-4D1A-8A2F-E96431EBC9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91656" y="1"/>
            <a:ext cx="10000343" cy="758536"/>
          </a:xfrm>
          <a:prstGeom prst="rect">
            <a:avLst/>
          </a:prstGeom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908FA4E-4464-0E46-CCCA-B32AA9B8FE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9665" y="6461872"/>
            <a:ext cx="7123447" cy="196543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>
              <a:defRPr sz="1400">
                <a:solidFill>
                  <a:schemeClr val="accent6"/>
                </a:solidFill>
              </a:defRPr>
            </a:lvl2pPr>
            <a:lvl3pPr>
              <a:defRPr sz="1400">
                <a:solidFill>
                  <a:schemeClr val="accent6"/>
                </a:solidFill>
              </a:defRPr>
            </a:lvl3pPr>
            <a:lvl4pPr>
              <a:defRPr sz="1400">
                <a:solidFill>
                  <a:schemeClr val="accent6"/>
                </a:solidFill>
              </a:defRPr>
            </a:lvl4pPr>
            <a:lvl5pPr>
              <a:defRPr sz="14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9DBBE2E-0998-460C-49E7-9B5206761C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5467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itle, Subtitle and Content w/ Contrai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FA2791E-F6D3-B661-BD3F-3DCD8E5B1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689" y="1836431"/>
            <a:ext cx="11291736" cy="4196231"/>
          </a:xfr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accent4"/>
              </a:buClr>
              <a:defRPr lang="en-US" dirty="0"/>
            </a:lvl1pPr>
            <a:lvl2pPr>
              <a:buClr>
                <a:schemeClr val="accent4"/>
              </a:buClr>
              <a:defRPr lang="en-US" dirty="0"/>
            </a:lvl2pPr>
            <a:lvl3pPr>
              <a:buClr>
                <a:schemeClr val="accent4"/>
              </a:buClr>
              <a:defRPr lang="en-US" dirty="0"/>
            </a:lvl3pPr>
            <a:lvl4pPr>
              <a:buClr>
                <a:schemeClr val="accent4"/>
              </a:buClr>
              <a:defRPr lang="en-US" dirty="0"/>
            </a:lvl4pPr>
            <a:lvl5pPr>
              <a:buClr>
                <a:schemeClr val="accent4"/>
              </a:buCl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F6E8D7C-BCD2-BF09-E007-0B3E40E78D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998226" y="637059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940A5A4-F7F8-6AE6-7462-D71B5D3F8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5"/>
            <a:ext cx="11291736" cy="577716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2F47D7E-344A-96C0-38DE-837E5CE2267F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449690" y="1057632"/>
            <a:ext cx="11291736" cy="429208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5" name="Picture 14" descr="A black background with a green line&#10;&#10;Description automatically generated">
            <a:extLst>
              <a:ext uri="{FF2B5EF4-FFF2-40B4-BE49-F238E27FC236}">
                <a16:creationId xmlns:a16="http://schemas.microsoft.com/office/drawing/2014/main" id="{98AAB693-A520-4D1A-8A2F-E96431EBC9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91656" y="1"/>
            <a:ext cx="10000343" cy="758536"/>
          </a:xfrm>
          <a:prstGeom prst="rect">
            <a:avLst/>
          </a:prstGeom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908FA4E-4464-0E46-CCCA-B32AA9B8FE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9665" y="6461872"/>
            <a:ext cx="7123447" cy="196543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>
              <a:defRPr sz="1400">
                <a:solidFill>
                  <a:schemeClr val="accent6"/>
                </a:solidFill>
              </a:defRPr>
            </a:lvl2pPr>
            <a:lvl3pPr>
              <a:defRPr sz="1400">
                <a:solidFill>
                  <a:schemeClr val="accent6"/>
                </a:solidFill>
              </a:defRPr>
            </a:lvl3pPr>
            <a:lvl4pPr>
              <a:defRPr sz="1400">
                <a:solidFill>
                  <a:schemeClr val="accent6"/>
                </a:solidFill>
              </a:defRPr>
            </a:lvl4pPr>
            <a:lvl5pPr>
              <a:defRPr sz="14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CE353FC-885A-FC28-034A-8B470B1773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134" y="6289636"/>
            <a:ext cx="795418" cy="441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9100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Contr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FA2791E-F6D3-B661-BD3F-3DCD8E5B1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689" y="1407221"/>
            <a:ext cx="11291736" cy="462544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F6E8D7C-BCD2-BF09-E007-0B3E40E78D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998226" y="637059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940A5A4-F7F8-6AE6-7462-D71B5D3F8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5"/>
            <a:ext cx="11291736" cy="577716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5" name="Picture 14" descr="A black background with a green line&#10;&#10;Description automatically generated">
            <a:extLst>
              <a:ext uri="{FF2B5EF4-FFF2-40B4-BE49-F238E27FC236}">
                <a16:creationId xmlns:a16="http://schemas.microsoft.com/office/drawing/2014/main" id="{98AAB693-A520-4D1A-8A2F-E96431EBC9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91656" y="1"/>
            <a:ext cx="10000343" cy="758536"/>
          </a:xfrm>
          <a:prstGeom prst="rect">
            <a:avLst/>
          </a:prstGeom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908FA4E-4464-0E46-CCCA-B32AA9B8FE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9665" y="6461872"/>
            <a:ext cx="7123447" cy="196543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>
              <a:defRPr sz="1400">
                <a:solidFill>
                  <a:schemeClr val="accent6"/>
                </a:solidFill>
              </a:defRPr>
            </a:lvl2pPr>
            <a:lvl3pPr>
              <a:defRPr sz="1400">
                <a:solidFill>
                  <a:schemeClr val="accent6"/>
                </a:solidFill>
              </a:defRPr>
            </a:lvl3pPr>
            <a:lvl4pPr>
              <a:defRPr sz="1400">
                <a:solidFill>
                  <a:schemeClr val="accent6"/>
                </a:solidFill>
              </a:defRPr>
            </a:lvl4pPr>
            <a:lvl5pPr>
              <a:defRPr sz="14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9DBBE2E-0998-460C-49E7-9B5206761C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44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F75CD2DC-51AA-9BE9-DE02-96565C25B2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77" y="0"/>
            <a:ext cx="12192000" cy="6858000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3FC4B43D-40E5-215E-199A-669555AB43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74" y="1811992"/>
            <a:ext cx="5645426" cy="230917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verarching cover slide for all use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F1F0BF3-9EE8-74E5-293F-EE8C88481C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74" y="4275802"/>
            <a:ext cx="5645426" cy="365126"/>
          </a:xfrm>
        </p:spPr>
        <p:txBody>
          <a:bodyPr anchor="ctr">
            <a:noAutofit/>
          </a:bodyPr>
          <a:lstStyle>
            <a:lvl1pPr marL="0" indent="0" algn="l">
              <a:buNone/>
              <a:defRPr sz="2400" b="0" i="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29AF862F-D761-E769-9D25-E9A311030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850" y="5102124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1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31C66497-2842-3EEA-AAA4-9E1F67E927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574" y="5396346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C19CD83D-10D9-5471-79E0-A813BEB5A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297" y="6104862"/>
            <a:ext cx="5645426" cy="270772"/>
          </a:xfrm>
        </p:spPr>
        <p:txBody>
          <a:bodyPr anchor="ctr">
            <a:noAutofit/>
          </a:bodyPr>
          <a:lstStyle>
            <a:lvl1pPr marL="0" indent="0">
              <a:buNone/>
              <a:defRPr sz="1200" b="0" i="0">
                <a:solidFill>
                  <a:schemeClr val="accent6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Optional Dat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F84F53E-8603-BFDE-B2F4-554C1A4BA2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3111" y="287095"/>
            <a:ext cx="1741196" cy="96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417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FA2791E-F6D3-B661-BD3F-3DCD8E5B1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689" y="1836431"/>
            <a:ext cx="11291736" cy="419623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F6E8D7C-BCD2-BF09-E007-0B3E40E78D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998226" y="637059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940A5A4-F7F8-6AE6-7462-D71B5D3F8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5"/>
            <a:ext cx="11291736" cy="577716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2F47D7E-344A-96C0-38DE-837E5CE2267F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449690" y="1057632"/>
            <a:ext cx="11291736" cy="429208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908FA4E-4464-0E46-CCCA-B32AA9B8FE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9665" y="6461872"/>
            <a:ext cx="7123447" cy="196543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>
              <a:defRPr sz="1400">
                <a:solidFill>
                  <a:schemeClr val="accent6"/>
                </a:solidFill>
              </a:defRPr>
            </a:lvl2pPr>
            <a:lvl3pPr>
              <a:defRPr sz="1400">
                <a:solidFill>
                  <a:schemeClr val="accent6"/>
                </a:solidFill>
              </a:defRPr>
            </a:lvl3pPr>
            <a:lvl4pPr>
              <a:defRPr sz="1400">
                <a:solidFill>
                  <a:schemeClr val="accent6"/>
                </a:solidFill>
              </a:defRPr>
            </a:lvl4pPr>
            <a:lvl5pPr>
              <a:defRPr sz="14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9DBBE2E-0998-460C-49E7-9B5206761C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3113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2 Content w/ Contr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FA2791E-F6D3-B661-BD3F-3DCD8E5B1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689" y="1836430"/>
            <a:ext cx="5315225" cy="419623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BFA99523-1D08-BFBD-57F6-289CF88497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27089" y="1836430"/>
            <a:ext cx="5314338" cy="419623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 descr="A green and black rectangle&#10;&#10;Description automatically generated">
            <a:extLst>
              <a:ext uri="{FF2B5EF4-FFF2-40B4-BE49-F238E27FC236}">
                <a16:creationId xmlns:a16="http://schemas.microsoft.com/office/drawing/2014/main" id="{861C90BE-518E-0670-C419-07FB292B24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529664" y="1"/>
            <a:ext cx="10662335" cy="36512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7796A00-1FEA-D008-F2F8-EABE69AE9C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5"/>
            <a:ext cx="11291736" cy="577716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A34EB7B-3727-E8E9-13D8-1DF95DF5DFA9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449690" y="1057632"/>
            <a:ext cx="11291736" cy="429208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Slide Number Placeholder 13">
            <a:extLst>
              <a:ext uri="{FF2B5EF4-FFF2-40B4-BE49-F238E27FC236}">
                <a16:creationId xmlns:a16="http://schemas.microsoft.com/office/drawing/2014/main" id="{9D7EF99A-B069-A312-85ED-251326BBD94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998226" y="637059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5EFED929-2619-23F4-D192-AB426C52C8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29665" y="6461872"/>
            <a:ext cx="7123447" cy="196543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>
              <a:defRPr sz="1400">
                <a:solidFill>
                  <a:schemeClr val="accent6"/>
                </a:solidFill>
              </a:defRPr>
            </a:lvl2pPr>
            <a:lvl3pPr>
              <a:defRPr sz="1400">
                <a:solidFill>
                  <a:schemeClr val="accent6"/>
                </a:solidFill>
              </a:defRPr>
            </a:lvl3pPr>
            <a:lvl4pPr>
              <a:defRPr sz="1400">
                <a:solidFill>
                  <a:schemeClr val="accent6"/>
                </a:solidFill>
              </a:defRPr>
            </a:lvl4pPr>
            <a:lvl5pPr>
              <a:defRPr sz="14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23AAAB5E-F86B-74D5-949C-CDE761BB6A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1126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2 Conten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FA2791E-F6D3-B661-BD3F-3DCD8E5B1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690" y="1836430"/>
            <a:ext cx="5315224" cy="419623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BFA99523-1D08-BFBD-57F6-289CF88497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27088" y="1836430"/>
            <a:ext cx="5314337" cy="419623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940A5A4-F7F8-6AE6-7462-D71B5D3F8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4"/>
            <a:ext cx="11291735" cy="577716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2F47D7E-344A-96C0-38DE-837E5CE2267F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449690" y="1057631"/>
            <a:ext cx="11291735" cy="429208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Slide Number Placeholder 13">
            <a:extLst>
              <a:ext uri="{FF2B5EF4-FFF2-40B4-BE49-F238E27FC236}">
                <a16:creationId xmlns:a16="http://schemas.microsoft.com/office/drawing/2014/main" id="{C08B33AD-B899-6D5D-9216-5716B03CE7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998226" y="637059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B21125A-19CA-D45C-1A96-0CB53E5EF13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29665" y="6461872"/>
            <a:ext cx="7123447" cy="196543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>
              <a:defRPr sz="1400">
                <a:solidFill>
                  <a:schemeClr val="accent6"/>
                </a:solidFill>
              </a:defRPr>
            </a:lvl2pPr>
            <a:lvl3pPr>
              <a:defRPr sz="1400">
                <a:solidFill>
                  <a:schemeClr val="accent6"/>
                </a:solidFill>
              </a:defRPr>
            </a:lvl3pPr>
            <a:lvl4pPr>
              <a:defRPr sz="1400">
                <a:solidFill>
                  <a:schemeClr val="accent6"/>
                </a:solidFill>
              </a:defRPr>
            </a:lvl4pPr>
            <a:lvl5pPr>
              <a:defRPr sz="14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454621C-CE26-71AD-0654-7FFBA0BEF7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8132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. Title, Subtitle and Content w/ Contr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FA2791E-F6D3-B661-BD3F-3DCD8E5B1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6201" y="479915"/>
            <a:ext cx="5315225" cy="555274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0E0266B-1A00-373C-6E5C-51A494B30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5"/>
            <a:ext cx="5315225" cy="113286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05C8E2C4-1504-1B5F-4CD1-8404B92491CD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449690" y="1612774"/>
            <a:ext cx="5315225" cy="892383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5" name="Picture 14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1544D8E8-15D0-01C7-9EE4-8B406D01C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195728" y="122283"/>
            <a:ext cx="11000410" cy="557536"/>
          </a:xfrm>
          <a:prstGeom prst="rect">
            <a:avLst/>
          </a:prstGeom>
        </p:spPr>
      </p:pic>
      <p:sp>
        <p:nvSpPr>
          <p:cNvPr id="7" name="Slide Number Placeholder 13">
            <a:extLst>
              <a:ext uri="{FF2B5EF4-FFF2-40B4-BE49-F238E27FC236}">
                <a16:creationId xmlns:a16="http://schemas.microsoft.com/office/drawing/2014/main" id="{C89A1DB0-6328-ABC6-1D97-AE6EFEC987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998226" y="637059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1D7627F-BFEA-5320-87D6-FADF232B1F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3903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. Title, Subtitle and Content w/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FA2791E-F6D3-B661-BD3F-3DCD8E5B1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6200" y="479915"/>
            <a:ext cx="5315225" cy="555274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AE9BEE-6FA6-042F-21FB-80B2AC262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5"/>
            <a:ext cx="5315225" cy="113286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0EF14B6-C419-FDB0-239C-8C2A6D55A3DF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449690" y="1612774"/>
            <a:ext cx="5315225" cy="892383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Slide Number Placeholder 13">
            <a:extLst>
              <a:ext uri="{FF2B5EF4-FFF2-40B4-BE49-F238E27FC236}">
                <a16:creationId xmlns:a16="http://schemas.microsoft.com/office/drawing/2014/main" id="{3068E4FA-B3AC-5F34-2714-E1E36D50D35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998226" y="637059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3848DC2-C954-1552-9820-30D349AF70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6307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Subtitle and 2 Content w/ Contr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11D73-7A17-30B7-01A0-87E7709CD6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5"/>
            <a:ext cx="11291736" cy="534032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3814B1-633C-E8B0-5941-E1E7F6FA0BDB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449688" y="1325268"/>
            <a:ext cx="5316110" cy="895732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0B991CD-48C1-C467-6A1C-9119669C56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26201" y="1326918"/>
            <a:ext cx="5316114" cy="89408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7ACD2F3-5CBE-4E9B-4E17-AA641AAFB6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689" y="2254413"/>
            <a:ext cx="5316109" cy="380485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A0C6141-BBB3-C613-F91D-4A018704B0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26201" y="2251386"/>
            <a:ext cx="5316110" cy="380485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4" name="Picture 23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44CE69C7-AA0C-8790-C757-EBF9B7E1E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789710"/>
          </a:xfrm>
          <a:prstGeom prst="rect">
            <a:avLst/>
          </a:prstGeom>
        </p:spPr>
      </p:pic>
      <p:sp>
        <p:nvSpPr>
          <p:cNvPr id="13" name="Slide Number Placeholder 13">
            <a:extLst>
              <a:ext uri="{FF2B5EF4-FFF2-40B4-BE49-F238E27FC236}">
                <a16:creationId xmlns:a16="http://schemas.microsoft.com/office/drawing/2014/main" id="{E08B4A01-1405-E3F6-BED0-5A11FB573BB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998226" y="637059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FED8F215-6195-10E0-D598-9E40B442D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3623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Subtitle and Content w/ Contr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6C3814B1-633C-E8B0-5941-E1E7F6FA0BDB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449686" y="1325268"/>
            <a:ext cx="3499197" cy="895732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0B991CD-48C1-C467-6A1C-9119669C56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6401" y="1326918"/>
            <a:ext cx="3499197" cy="89408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7ACD2F3-5CBE-4E9B-4E17-AA641AAFB6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690" y="2257440"/>
            <a:ext cx="3499196" cy="38048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A0C6141-BBB3-C613-F91D-4A018704B0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46402" y="2254413"/>
            <a:ext cx="3499196" cy="38048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BF1A17F7-5DB3-CC7E-7DBA-9D0964A8E5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42228" y="1325268"/>
            <a:ext cx="3499198" cy="89408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69D5E2C-5A7B-A57E-2536-0587472FDD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3114" y="2252763"/>
            <a:ext cx="3499196" cy="38048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 descr="A green and black background&#10;&#10;Description automatically generated">
            <a:extLst>
              <a:ext uri="{FF2B5EF4-FFF2-40B4-BE49-F238E27FC236}">
                <a16:creationId xmlns:a16="http://schemas.microsoft.com/office/drawing/2014/main" id="{F3028C0F-81B5-D95E-D0DD-35A10BF144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78232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01F72C7-7397-45FF-CD1D-D2925B2E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5"/>
            <a:ext cx="11291736" cy="534032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lide Number Placeholder 13">
            <a:extLst>
              <a:ext uri="{FF2B5EF4-FFF2-40B4-BE49-F238E27FC236}">
                <a16:creationId xmlns:a16="http://schemas.microsoft.com/office/drawing/2014/main" id="{EE4CE6B4-AD4C-E75C-D588-124E938EDE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998226" y="637059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C9C05F9-5131-2270-F64F-087C0621CA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4119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D2A0828-126E-FEBA-1AB9-20FC24EBC65F}"/>
              </a:ext>
            </a:extLst>
          </p:cNvPr>
          <p:cNvSpPr>
            <a:spLocks noGrp="1"/>
          </p:cNvSpPr>
          <p:nvPr>
            <p:ph type="pic" idx="18"/>
          </p:nvPr>
        </p:nvSpPr>
        <p:spPr>
          <a:xfrm>
            <a:off x="6426200" y="0"/>
            <a:ext cx="57658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3EDD544-65D6-FA23-8C90-7D59A1C49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5"/>
            <a:ext cx="5315225" cy="113286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4B63DB8-E6C7-12FC-DFB9-23C5DC7EF80E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449690" y="1612774"/>
            <a:ext cx="5315225" cy="892383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6C5AAA0-097A-E211-DC9A-BB95EA90DDE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689" y="2809462"/>
            <a:ext cx="5315225" cy="324980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F9644B8-5558-CFB8-FA42-F56C13F8F2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9384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D2A0828-126E-FEBA-1AB9-20FC24EBC65F}"/>
              </a:ext>
            </a:extLst>
          </p:cNvPr>
          <p:cNvSpPr>
            <a:spLocks noGrp="1"/>
          </p:cNvSpPr>
          <p:nvPr>
            <p:ph type="pic" idx="18"/>
          </p:nvPr>
        </p:nvSpPr>
        <p:spPr>
          <a:xfrm>
            <a:off x="6426200" y="0"/>
            <a:ext cx="57658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3EDD544-65D6-FA23-8C90-7D59A1C49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690" y="479915"/>
            <a:ext cx="5315225" cy="113286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6C5AAA0-097A-E211-DC9A-BB95EA90DDE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689" y="1948070"/>
            <a:ext cx="5315225" cy="41112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F9644B8-5558-CFB8-FA42-F56C13F8F2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4487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DBEC1529-1577-5B5F-A906-24D4A99D1143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61959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34B9C-16AD-6247-87EF-1591C4E80E8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74" y="1811992"/>
            <a:ext cx="5645426" cy="230917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nalytics cover slide for only analytics present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A45E54-7E07-7B9B-3D30-CE879F2ADA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74" y="4275802"/>
            <a:ext cx="5645426" cy="365126"/>
          </a:xfrm>
        </p:spPr>
        <p:txBody>
          <a:bodyPr anchor="ctr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6B88179-8E19-AEEA-7C12-2193874EC8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850" y="5102124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1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852DBD6C-6393-4015-5BE5-E756963B7F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574" y="5396346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1065577-E891-979D-F5BB-7C6B755F9B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297" y="6104862"/>
            <a:ext cx="5645426" cy="270772"/>
          </a:xfrm>
        </p:spPr>
        <p:txBody>
          <a:bodyPr anchor="ctr">
            <a:noAutofit/>
          </a:bodyPr>
          <a:lstStyle>
            <a:lvl1pPr marL="0" indent="0">
              <a:buNone/>
              <a:defRPr sz="1200" b="0" i="0">
                <a:solidFill>
                  <a:schemeClr val="accent6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Optional Dat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9C2FCF2-4E29-EED1-5D84-0DBE995AEA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738" t="38097" r="41958" b="-1231"/>
          <a:stretch/>
        </p:blipFill>
        <p:spPr>
          <a:xfrm>
            <a:off x="6293224" y="1"/>
            <a:ext cx="5898776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A8F80E2-71AF-1BF6-A1DE-D1941FF58B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3111" y="283678"/>
            <a:ext cx="1741194" cy="967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999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13">
            <a:extLst>
              <a:ext uri="{FF2B5EF4-FFF2-40B4-BE49-F238E27FC236}">
                <a16:creationId xmlns:a16="http://schemas.microsoft.com/office/drawing/2014/main" id="{722CC027-6B6E-85B0-A8C3-64578F0614D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998226" y="637059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0464A75-ACAF-6AE4-1FDC-1DB8F307F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134" y="6289908"/>
            <a:ext cx="802456" cy="44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5533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0719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E34B6771-4E1A-8E8A-57C7-9B89E2B0D453}"/>
              </a:ext>
            </a:extLst>
          </p:cNvPr>
          <p:cNvGrpSpPr/>
          <p:nvPr userDrawn="1"/>
        </p:nvGrpSpPr>
        <p:grpSpPr>
          <a:xfrm>
            <a:off x="599927" y="502602"/>
            <a:ext cx="10992146" cy="5852796"/>
            <a:chOff x="1056488" y="840235"/>
            <a:chExt cx="10079022" cy="536660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DF2B4CC-2CCE-0995-5F08-8729B2906144}"/>
                </a:ext>
              </a:extLst>
            </p:cNvPr>
            <p:cNvSpPr/>
            <p:nvPr userDrawn="1"/>
          </p:nvSpPr>
          <p:spPr>
            <a:xfrm>
              <a:off x="1281112" y="1179492"/>
              <a:ext cx="9629775" cy="4499016"/>
            </a:xfrm>
            <a:prstGeom prst="rect">
              <a:avLst/>
            </a:prstGeom>
            <a:noFill/>
            <a:ln w="31750" cap="rnd"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B0F4778-506D-12C4-CFF1-B44705EBF1E7}"/>
                </a:ext>
              </a:extLst>
            </p:cNvPr>
            <p:cNvSpPr/>
            <p:nvPr userDrawn="1"/>
          </p:nvSpPr>
          <p:spPr>
            <a:xfrm>
              <a:off x="1108364" y="2202873"/>
              <a:ext cx="8686800" cy="400396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DA25866-82EC-15C2-5B86-D686DCF0D95E}"/>
                </a:ext>
              </a:extLst>
            </p:cNvPr>
            <p:cNvSpPr/>
            <p:nvPr userDrawn="1"/>
          </p:nvSpPr>
          <p:spPr>
            <a:xfrm>
              <a:off x="1281112" y="1551709"/>
              <a:ext cx="9303761" cy="4126799"/>
            </a:xfrm>
            <a:prstGeom prst="rect">
              <a:avLst/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ED4CB7E-1CB8-4177-2F4D-A8C517137EEC}"/>
                </a:ext>
              </a:extLst>
            </p:cNvPr>
            <p:cNvGrpSpPr/>
            <p:nvPr userDrawn="1"/>
          </p:nvGrpSpPr>
          <p:grpSpPr>
            <a:xfrm>
              <a:off x="1056488" y="840235"/>
              <a:ext cx="10079022" cy="5177530"/>
              <a:chOff x="1056489" y="805779"/>
              <a:chExt cx="10079022" cy="5177530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6FE904B-B1F0-F9D9-0C65-49BE23F0262D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056489" y="805779"/>
                <a:ext cx="1529579" cy="1463040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24A792C-EAD1-1E17-404C-EFBEF7BFF411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9672471" y="4598834"/>
                <a:ext cx="1463040" cy="1384475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6B80C71-44A6-A20E-ADA6-E833525161AD}"/>
                </a:ext>
              </a:extLst>
            </p:cNvPr>
            <p:cNvSpPr/>
            <p:nvPr userDrawn="1"/>
          </p:nvSpPr>
          <p:spPr>
            <a:xfrm>
              <a:off x="1898073" y="1426825"/>
              <a:ext cx="8859548" cy="37132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FAE7328-7EDE-37C7-F66D-C16DB72D3781}"/>
              </a:ext>
            </a:extLst>
          </p:cNvPr>
          <p:cNvSpPr txBox="1"/>
          <p:nvPr userDrawn="1"/>
        </p:nvSpPr>
        <p:spPr>
          <a:xfrm>
            <a:off x="847923" y="-38211"/>
            <a:ext cx="1174283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700" b="0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“</a:t>
            </a:r>
            <a:endParaRPr lang="en-US" sz="28700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A022E4-7A5B-F38A-7860-1E739DC9F6F8}"/>
              </a:ext>
            </a:extLst>
          </p:cNvPr>
          <p:cNvSpPr txBox="1"/>
          <p:nvPr userDrawn="1"/>
        </p:nvSpPr>
        <p:spPr>
          <a:xfrm rot="10800000">
            <a:off x="10220850" y="2245036"/>
            <a:ext cx="1280669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700" b="0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“</a:t>
            </a:r>
            <a:endParaRPr lang="en-US" sz="28700" dirty="0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D35EDAB-E6BE-EF48-6A71-C474D859C3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58634" y="1633596"/>
            <a:ext cx="7185513" cy="283712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ally epic quote that makes everyone think. 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E2487A3-96FC-5837-5057-788C5EA5DC72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2358635" y="4669312"/>
            <a:ext cx="7185512" cy="395869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0" i="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- Quoted Source</a:t>
            </a:r>
          </a:p>
        </p:txBody>
      </p:sp>
    </p:spTree>
    <p:extLst>
      <p:ext uri="{BB962C8B-B14F-4D97-AF65-F5344CB8AC3E}">
        <p14:creationId xmlns:p14="http://schemas.microsoft.com/office/powerpoint/2010/main" val="4138459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E34B6771-4E1A-8E8A-57C7-9B89E2B0D453}"/>
              </a:ext>
            </a:extLst>
          </p:cNvPr>
          <p:cNvGrpSpPr/>
          <p:nvPr userDrawn="1"/>
        </p:nvGrpSpPr>
        <p:grpSpPr>
          <a:xfrm>
            <a:off x="599927" y="502602"/>
            <a:ext cx="10992146" cy="5852796"/>
            <a:chOff x="1056488" y="840235"/>
            <a:chExt cx="10079022" cy="536660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DF2B4CC-2CCE-0995-5F08-8729B2906144}"/>
                </a:ext>
              </a:extLst>
            </p:cNvPr>
            <p:cNvSpPr/>
            <p:nvPr userDrawn="1"/>
          </p:nvSpPr>
          <p:spPr>
            <a:xfrm>
              <a:off x="1281112" y="1179492"/>
              <a:ext cx="9629775" cy="4499016"/>
            </a:xfrm>
            <a:prstGeom prst="rect">
              <a:avLst/>
            </a:prstGeom>
            <a:noFill/>
            <a:ln w="31750" cap="rnd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B0F4778-506D-12C4-CFF1-B44705EBF1E7}"/>
                </a:ext>
              </a:extLst>
            </p:cNvPr>
            <p:cNvSpPr/>
            <p:nvPr userDrawn="1"/>
          </p:nvSpPr>
          <p:spPr>
            <a:xfrm>
              <a:off x="1108364" y="2202873"/>
              <a:ext cx="8686800" cy="40039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DA25866-82EC-15C2-5B86-D686DCF0D95E}"/>
                </a:ext>
              </a:extLst>
            </p:cNvPr>
            <p:cNvSpPr/>
            <p:nvPr userDrawn="1"/>
          </p:nvSpPr>
          <p:spPr>
            <a:xfrm>
              <a:off x="1281112" y="1551709"/>
              <a:ext cx="9303761" cy="4126799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ED4CB7E-1CB8-4177-2F4D-A8C517137EEC}"/>
                </a:ext>
              </a:extLst>
            </p:cNvPr>
            <p:cNvGrpSpPr/>
            <p:nvPr userDrawn="1"/>
          </p:nvGrpSpPr>
          <p:grpSpPr>
            <a:xfrm>
              <a:off x="1056488" y="840235"/>
              <a:ext cx="10079022" cy="5177530"/>
              <a:chOff x="1056489" y="805779"/>
              <a:chExt cx="10079022" cy="5177530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6FE904B-B1F0-F9D9-0C65-49BE23F0262D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056489" y="805779"/>
                <a:ext cx="1529579" cy="146304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24A792C-EAD1-1E17-404C-EFBEF7BFF411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9672471" y="4601177"/>
                <a:ext cx="1463040" cy="1382132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6B80C71-44A6-A20E-ADA6-E833525161AD}"/>
                </a:ext>
              </a:extLst>
            </p:cNvPr>
            <p:cNvSpPr/>
            <p:nvPr userDrawn="1"/>
          </p:nvSpPr>
          <p:spPr>
            <a:xfrm>
              <a:off x="1898073" y="1426825"/>
              <a:ext cx="8859548" cy="37132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FAE7328-7EDE-37C7-F66D-C16DB72D3781}"/>
              </a:ext>
            </a:extLst>
          </p:cNvPr>
          <p:cNvSpPr txBox="1"/>
          <p:nvPr userDrawn="1"/>
        </p:nvSpPr>
        <p:spPr>
          <a:xfrm>
            <a:off x="847923" y="-38211"/>
            <a:ext cx="1174283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700" b="0" i="0" u="none" strike="noStrike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“</a:t>
            </a:r>
            <a:endParaRPr lang="en-US" sz="287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A022E4-7A5B-F38A-7860-1E739DC9F6F8}"/>
              </a:ext>
            </a:extLst>
          </p:cNvPr>
          <p:cNvSpPr txBox="1"/>
          <p:nvPr userDrawn="1"/>
        </p:nvSpPr>
        <p:spPr>
          <a:xfrm rot="10800000">
            <a:off x="10220850" y="2245036"/>
            <a:ext cx="1280669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700" b="0" i="0" u="none" strike="noStrike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“</a:t>
            </a:r>
            <a:endParaRPr lang="en-US" sz="2870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D35EDAB-E6BE-EF48-6A71-C474D859C3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58634" y="1633596"/>
            <a:ext cx="7185513" cy="283712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ally epic quote that makes everyone think. 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E2487A3-96FC-5837-5057-788C5EA5DC72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2358635" y="4669312"/>
            <a:ext cx="7185512" cy="395869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- Quoted Source</a:t>
            </a:r>
          </a:p>
        </p:txBody>
      </p:sp>
    </p:spTree>
    <p:extLst>
      <p:ext uri="{BB962C8B-B14F-4D97-AF65-F5344CB8AC3E}">
        <p14:creationId xmlns:p14="http://schemas.microsoft.com/office/powerpoint/2010/main" val="20353354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E34B6771-4E1A-8E8A-57C7-9B89E2B0D453}"/>
              </a:ext>
            </a:extLst>
          </p:cNvPr>
          <p:cNvGrpSpPr/>
          <p:nvPr userDrawn="1"/>
        </p:nvGrpSpPr>
        <p:grpSpPr>
          <a:xfrm>
            <a:off x="599927" y="502602"/>
            <a:ext cx="10992146" cy="5852796"/>
            <a:chOff x="1056488" y="840235"/>
            <a:chExt cx="10079022" cy="536660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DF2B4CC-2CCE-0995-5F08-8729B2906144}"/>
                </a:ext>
              </a:extLst>
            </p:cNvPr>
            <p:cNvSpPr/>
            <p:nvPr userDrawn="1"/>
          </p:nvSpPr>
          <p:spPr>
            <a:xfrm>
              <a:off x="1281112" y="1179492"/>
              <a:ext cx="9629775" cy="4499016"/>
            </a:xfrm>
            <a:prstGeom prst="rect">
              <a:avLst/>
            </a:prstGeom>
            <a:noFill/>
            <a:ln w="31750" cap="rnd"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B0F4778-506D-12C4-CFF1-B44705EBF1E7}"/>
                </a:ext>
              </a:extLst>
            </p:cNvPr>
            <p:cNvSpPr/>
            <p:nvPr userDrawn="1"/>
          </p:nvSpPr>
          <p:spPr>
            <a:xfrm>
              <a:off x="1108364" y="2202873"/>
              <a:ext cx="8686800" cy="400396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DA25866-82EC-15C2-5B86-D686DCF0D95E}"/>
                </a:ext>
              </a:extLst>
            </p:cNvPr>
            <p:cNvSpPr/>
            <p:nvPr userDrawn="1"/>
          </p:nvSpPr>
          <p:spPr>
            <a:xfrm>
              <a:off x="1281112" y="1551709"/>
              <a:ext cx="9303761" cy="4126799"/>
            </a:xfrm>
            <a:prstGeom prst="rect">
              <a:avLst/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ED4CB7E-1CB8-4177-2F4D-A8C517137EEC}"/>
                </a:ext>
              </a:extLst>
            </p:cNvPr>
            <p:cNvGrpSpPr/>
            <p:nvPr userDrawn="1"/>
          </p:nvGrpSpPr>
          <p:grpSpPr>
            <a:xfrm>
              <a:off x="1056488" y="840235"/>
              <a:ext cx="10079022" cy="5177530"/>
              <a:chOff x="1056489" y="805779"/>
              <a:chExt cx="10079022" cy="5177530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6FE904B-B1F0-F9D9-0C65-49BE23F0262D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056489" y="805779"/>
                <a:ext cx="1529579" cy="1463040"/>
              </a:xfrm>
              <a:prstGeom prst="rect">
                <a:avLst/>
              </a:prstGeom>
              <a:solidFill>
                <a:schemeClr val="accent3"/>
              </a:solidFill>
              <a:ln w="190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24A792C-EAD1-1E17-404C-EFBEF7BFF411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9672471" y="4598834"/>
                <a:ext cx="1463040" cy="1384475"/>
              </a:xfrm>
              <a:prstGeom prst="rect">
                <a:avLst/>
              </a:prstGeom>
              <a:solidFill>
                <a:schemeClr val="accent3"/>
              </a:solidFill>
              <a:ln w="190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6B80C71-44A6-A20E-ADA6-E833525161AD}"/>
                </a:ext>
              </a:extLst>
            </p:cNvPr>
            <p:cNvSpPr/>
            <p:nvPr userDrawn="1"/>
          </p:nvSpPr>
          <p:spPr>
            <a:xfrm>
              <a:off x="1898073" y="1426825"/>
              <a:ext cx="8859548" cy="371321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FAE7328-7EDE-37C7-F66D-C16DB72D3781}"/>
              </a:ext>
            </a:extLst>
          </p:cNvPr>
          <p:cNvSpPr txBox="1"/>
          <p:nvPr userDrawn="1"/>
        </p:nvSpPr>
        <p:spPr>
          <a:xfrm>
            <a:off x="847923" y="-38211"/>
            <a:ext cx="1174283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700" b="0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“</a:t>
            </a:r>
            <a:endParaRPr lang="en-US" sz="28700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A022E4-7A5B-F38A-7860-1E739DC9F6F8}"/>
              </a:ext>
            </a:extLst>
          </p:cNvPr>
          <p:cNvSpPr txBox="1"/>
          <p:nvPr userDrawn="1"/>
        </p:nvSpPr>
        <p:spPr>
          <a:xfrm rot="10800000">
            <a:off x="10220850" y="2245036"/>
            <a:ext cx="1280669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700" b="0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“</a:t>
            </a:r>
            <a:endParaRPr lang="en-US" sz="28700" dirty="0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D35EDAB-E6BE-EF48-6A71-C474D859C3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58634" y="1633596"/>
            <a:ext cx="7185513" cy="283712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ally epic quote that makes everyone think. 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E2487A3-96FC-5837-5057-788C5EA5DC72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2358635" y="4669312"/>
            <a:ext cx="7185512" cy="395869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0" i="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- Quoted Source</a:t>
            </a:r>
          </a:p>
        </p:txBody>
      </p:sp>
    </p:spTree>
    <p:extLst>
      <p:ext uri="{BB962C8B-B14F-4D97-AF65-F5344CB8AC3E}">
        <p14:creationId xmlns:p14="http://schemas.microsoft.com/office/powerpoint/2010/main" val="2899257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48D21876-BA52-68C5-B349-CF8087B112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93EFA5F-3C5D-E81F-71B1-ECAE22A10C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6573" y="5641905"/>
            <a:ext cx="5714252" cy="395869"/>
          </a:xfrm>
        </p:spPr>
        <p:txBody>
          <a:bodyPr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 err="1"/>
              <a:t>emailaddress@qlik.com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55610A0-F551-19F2-EECF-A7E853EED7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7989" y="1101187"/>
            <a:ext cx="3328576" cy="184921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12448B-DA87-1FE1-7CBF-F9F79437F7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6186" y="5004559"/>
            <a:ext cx="5714639" cy="46155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all to Action</a:t>
            </a:r>
          </a:p>
        </p:txBody>
      </p:sp>
    </p:spTree>
    <p:extLst>
      <p:ext uri="{BB962C8B-B14F-4D97-AF65-F5344CB8AC3E}">
        <p14:creationId xmlns:p14="http://schemas.microsoft.com/office/powerpoint/2010/main" val="3295994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4106C380-C29E-7390-E154-057377E5D8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23149500-7912-3E96-5FB3-CBDE4B5931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7990" y="1101186"/>
            <a:ext cx="3328576" cy="1849209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67FA24A-C52F-B256-7134-1984E46267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6573" y="5641905"/>
            <a:ext cx="5714252" cy="395869"/>
          </a:xfrm>
        </p:spPr>
        <p:txBody>
          <a:bodyPr>
            <a:no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 err="1"/>
              <a:t>emailaddress@qlik.com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7CD7BB3-59A8-A18C-D485-85765FFC2A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6186" y="5004559"/>
            <a:ext cx="5714639" cy="46155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all to Action</a:t>
            </a:r>
          </a:p>
        </p:txBody>
      </p:sp>
    </p:spTree>
    <p:extLst>
      <p:ext uri="{BB962C8B-B14F-4D97-AF65-F5344CB8AC3E}">
        <p14:creationId xmlns:p14="http://schemas.microsoft.com/office/powerpoint/2010/main" val="11590570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- Appendi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8A559919-4E94-0D09-D59B-D78DB4C2CA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3650"/>
          <a:stretch/>
        </p:blipFill>
        <p:spPr>
          <a:xfrm flipV="1">
            <a:off x="1664288" y="0"/>
            <a:ext cx="10527712" cy="6858000"/>
          </a:xfrm>
          <a:prstGeom prst="rect">
            <a:avLst/>
          </a:prstGeom>
        </p:spPr>
      </p:pic>
      <p:pic>
        <p:nvPicPr>
          <p:cNvPr id="7" name="Picture 6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08C28AA4-24E2-AEB6-7F25-DB964665F4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3288" t="5512"/>
          <a:stretch/>
        </p:blipFill>
        <p:spPr>
          <a:xfrm>
            <a:off x="0" y="0"/>
            <a:ext cx="11188631" cy="6858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23149500-7912-3E96-5FB3-CBDE4B5931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31712" y="1579791"/>
            <a:ext cx="3328576" cy="1849209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9FD58846-2F05-9B9A-3023-E997230525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73287" y="4176711"/>
            <a:ext cx="5645426" cy="1101498"/>
          </a:xfrm>
        </p:spPr>
        <p:txBody>
          <a:bodyPr anchor="t">
            <a:noAutofit/>
          </a:bodyPr>
          <a:lstStyle>
            <a:lvl1pPr marL="0" indent="0" algn="ctr">
              <a:buNone/>
              <a:defRPr sz="3200" b="1" i="0">
                <a:solidFill>
                  <a:schemeClr val="accent4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792288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426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A9E7F9D-BD52-E840-B06E-13D456ADC60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2982BD-CE65-794E-AA5D-470908267218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70EBF32-3EE7-914A-08BE-A29D454E7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400" y="1593669"/>
            <a:ext cx="10822763" cy="447417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3ECD69-E7D2-FC78-1AD8-2020AECEE3BF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88BDCA2-126C-285A-840C-610CABDBA41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BBA0F05-0A5F-0000-BBC7-CD14B092CFF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207DCC3-9F0A-3EB7-476C-9E135767D4C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136513F-9326-85FF-6DC6-68B65ED9F62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8095A34-F2E2-A3C2-889D-8F8E2BE4A6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FE67A5F-3E16-0F4C-E296-05C4282E415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575332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85032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78781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778781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559560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559560" y="4267700"/>
            <a:ext cx="2008176" cy="308976"/>
          </a:xfrm>
        </p:spPr>
        <p:txBody>
          <a:bodyPr tIns="0" bIns="0">
            <a:noAutofit/>
          </a:bodyPr>
          <a:lstStyle>
            <a:lvl1pPr marL="0" marR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348689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348689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9112767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9112767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C86D21F-0EB9-F14C-A173-75ECA0CAE9B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9832F078-384A-48CF-B280-575038E63097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F444BB2-87E0-1739-A385-A83CCF98C3C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92BCFEC-908D-4903-FC39-19BE1F16DF8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40275F0E-D280-8FCC-D544-C294D697F3C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0E10DD3-6163-A36F-7F6F-4339C48CD64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5E8C34E3-6C9F-317A-6405-A6039F6436C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58D6ACB-17CD-C506-05C8-3DE4908EFF2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5424965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211AD-FACA-FA16-6AC9-88E59FF0C3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74" y="1811992"/>
            <a:ext cx="5645426" cy="230917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ata Integration cover slide for only integration present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4DE177-0CE5-27BE-8C59-49539DD2AB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74" y="4275802"/>
            <a:ext cx="5645426" cy="365126"/>
          </a:xfrm>
        </p:spPr>
        <p:txBody>
          <a:bodyPr anchor="ctr">
            <a:noAutofit/>
          </a:bodyPr>
          <a:lstStyle>
            <a:lvl1pPr marL="0" indent="0" algn="l">
              <a:buNone/>
              <a:defRPr sz="2400" b="0" i="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3E76B6C2-3112-C5F8-6521-C2E70AEE31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850" y="5102124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1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995ECAD9-4262-FC9E-09C4-0939165C2C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574" y="5396346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8820A854-FAFA-CC16-19D4-D65B9D1CDD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297" y="6104862"/>
            <a:ext cx="5645426" cy="270772"/>
          </a:xfrm>
        </p:spPr>
        <p:txBody>
          <a:bodyPr anchor="ctr">
            <a:noAutofit/>
          </a:bodyPr>
          <a:lstStyle>
            <a:lvl1pPr marL="0" indent="0">
              <a:buNone/>
              <a:defRPr sz="1200" b="0" i="0">
                <a:solidFill>
                  <a:schemeClr val="accent6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Optional Dat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BC3EC8C-B7FA-1224-8356-981FA134E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25CE2A71-276C-640D-9F34-5988A969FB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3111" y="287095"/>
            <a:ext cx="1741196" cy="96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71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Content with open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13148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60399" y="1597139"/>
            <a:ext cx="10782047" cy="413883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54C9B13-5D03-884F-8851-0EFF8DED8DF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14726B90-E0AD-1E74-4E99-26E946580A30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C6B9AF2-EF7E-8EF1-7D9F-92383FAA955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9CC2037-E77C-5C3A-4249-6E6FE3302D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E75CD57-EBBB-A1F3-9ABB-83DAA32DD4F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0A2C573-1E36-244E-1086-5291F48A161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FBE5BB9-B952-CCD5-57EE-3D01E0A83B2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CBB1758-AED6-61D6-5E48-03FC83157DC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57502171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420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29009"/>
            <a:ext cx="10822763" cy="4138836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2742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78781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778781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559560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559560" y="4267700"/>
            <a:ext cx="2008176" cy="308976"/>
          </a:xfrm>
        </p:spPr>
        <p:txBody>
          <a:bodyPr tIns="0" bIns="0">
            <a:noAutofit/>
          </a:bodyPr>
          <a:lstStyle>
            <a:lvl1pPr marL="0" marR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/>
              <a:t>Edit Master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348689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348689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9112767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9112767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38" name="Text Placeholder 10"/>
          <p:cNvSpPr>
            <a:spLocks noGrp="1"/>
          </p:cNvSpPr>
          <p:nvPr>
            <p:ph type="body" sz="quarter" idx="29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11BB32-EAFA-DA4E-8119-2B26980221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2741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907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FBF5B6-794E-B35A-3AC9-931068BA4C6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74" y="1811992"/>
            <a:ext cx="5645426" cy="230917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I cover slide for presentations that over AI or Automation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7B40B1CE-D8D7-DC6F-4390-31D68358CA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74" y="4275802"/>
            <a:ext cx="5645426" cy="365126"/>
          </a:xfrm>
        </p:spPr>
        <p:txBody>
          <a:bodyPr anchor="ctr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BD5FEE04-5C39-AEEF-053B-98E65F7B67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850" y="5102124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1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5ABBDE62-C7C2-4B81-0FA5-34AB4C74A9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574" y="5396346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8D6B784-4CBC-0915-02F6-2B8E4889D3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297" y="6104862"/>
            <a:ext cx="5645426" cy="270772"/>
          </a:xfrm>
        </p:spPr>
        <p:txBody>
          <a:bodyPr anchor="ctr">
            <a:noAutofit/>
          </a:bodyPr>
          <a:lstStyle>
            <a:lvl1pPr marL="0" indent="0">
              <a:buNone/>
              <a:defRPr sz="1200" b="0" i="0">
                <a:solidFill>
                  <a:schemeClr val="accent6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Optional Dat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68682DB-2182-5096-B24B-89DA74D31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341" t="4866" r="33235" b="20027"/>
          <a:stretch/>
        </p:blipFill>
        <p:spPr>
          <a:xfrm>
            <a:off x="6400800" y="0"/>
            <a:ext cx="579120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DD04526-B71F-FBD5-8BB2-D4209C5BF8A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3111" y="283678"/>
            <a:ext cx="1741194" cy="967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921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211AD-FACA-FA16-6AC9-88E59FF0C3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74" y="1811992"/>
            <a:ext cx="5645426" cy="230917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ata quality cover slide for only data quality present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4DE177-0CE5-27BE-8C59-49539DD2AB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74" y="4275802"/>
            <a:ext cx="5645426" cy="365126"/>
          </a:xfrm>
        </p:spPr>
        <p:txBody>
          <a:bodyPr anchor="ctr">
            <a:noAutofit/>
          </a:bodyPr>
          <a:lstStyle>
            <a:lvl1pPr marL="0" indent="0" algn="l">
              <a:buNone/>
              <a:defRPr sz="2400" b="0" i="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3E76B6C2-3112-C5F8-6521-C2E70AEE31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850" y="5102124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1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995ECAD9-4262-FC9E-09C4-0939165C2C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574" y="5396346"/>
            <a:ext cx="5645150" cy="270771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8820A854-FAFA-CC16-19D4-D65B9D1CDD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297" y="6104862"/>
            <a:ext cx="5645426" cy="270772"/>
          </a:xfrm>
        </p:spPr>
        <p:txBody>
          <a:bodyPr anchor="ctr">
            <a:noAutofit/>
          </a:bodyPr>
          <a:lstStyle>
            <a:lvl1pPr marL="0" indent="0">
              <a:buNone/>
              <a:defRPr sz="1200" b="0" i="0">
                <a:solidFill>
                  <a:schemeClr val="accent6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Optional Dat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9FDE6-D5B9-DB4F-2322-54FB6A1E06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9431" t="14680" r="27945" b="33127"/>
          <a:stretch/>
        </p:blipFill>
        <p:spPr>
          <a:xfrm>
            <a:off x="6591300" y="0"/>
            <a:ext cx="5600700" cy="6858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C7A0B606-31D1-1310-F918-AD40DA59C6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3111" y="287095"/>
            <a:ext cx="1741196" cy="96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8131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73F66079-37BB-86DD-F9F3-FD9EF2D9DC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3D6199-7E4E-EC3E-01B7-27A061D65B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99" y="2231551"/>
            <a:ext cx="5645426" cy="187513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verarching divider slide for all uses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96EA256-34A4-5996-DCC4-F4ADF47333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99" y="4261323"/>
            <a:ext cx="5645427" cy="876734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62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background with green lines&#10;&#10;Description automatically generated">
            <a:extLst>
              <a:ext uri="{FF2B5EF4-FFF2-40B4-BE49-F238E27FC236}">
                <a16:creationId xmlns:a16="http://schemas.microsoft.com/office/drawing/2014/main" id="{28AD91B8-3334-630B-BD66-9DDD0FB55C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3D6199-7E4E-EC3E-01B7-27A061D65B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71" y="2584918"/>
            <a:ext cx="5645426" cy="146366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verarching divider slide for all uses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96EA256-34A4-5996-DCC4-F4ADF47333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71" y="4203220"/>
            <a:ext cx="5645427" cy="876734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4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</p:txBody>
      </p:sp>
    </p:spTree>
    <p:extLst>
      <p:ext uri="{BB962C8B-B14F-4D97-AF65-F5344CB8AC3E}">
        <p14:creationId xmlns:p14="http://schemas.microsoft.com/office/powerpoint/2010/main" val="2716994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D6199-7E4E-EC3E-01B7-27A061D65B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70" y="2584918"/>
            <a:ext cx="6396543" cy="146366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nalytics divider slid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96EA256-34A4-5996-DCC4-F4ADF47333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71" y="4203220"/>
            <a:ext cx="5645427" cy="876734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Inter Light" panose="02000503000000020004" pitchFamily="2" charset="0"/>
                <a:ea typeface="Inter Light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This is for a subtitle optiona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7449D2D-1DE2-A12B-DF18-8F2A463EB9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8950" t="26968" r="7310" b="26967"/>
          <a:stretch/>
        </p:blipFill>
        <p:spPr>
          <a:xfrm flipH="1">
            <a:off x="7168924" y="1"/>
            <a:ext cx="50230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538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CB2775-04B1-042D-9E53-D0E611B5F8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7539" y="1847574"/>
            <a:ext cx="10776922" cy="41087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75C6EB-E1EF-941D-4DCC-85515B9FC0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98226" y="618997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accent6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fld id="{93BFCDF7-B76A-EE4A-9647-B0AB618505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E8039E6F-BAB9-860A-05B9-20EE9032C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539" y="365125"/>
            <a:ext cx="1077692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269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41" r:id="rId2"/>
    <p:sldLayoutId id="2147483729" r:id="rId3"/>
    <p:sldLayoutId id="2147483747" r:id="rId4"/>
    <p:sldLayoutId id="2147483728" r:id="rId5"/>
    <p:sldLayoutId id="2147483939" r:id="rId6"/>
    <p:sldLayoutId id="2147483720" r:id="rId7"/>
    <p:sldLayoutId id="2147483724" r:id="rId8"/>
    <p:sldLayoutId id="2147483702" r:id="rId9"/>
    <p:sldLayoutId id="2147483746" r:id="rId10"/>
    <p:sldLayoutId id="2147483726" r:id="rId11"/>
    <p:sldLayoutId id="2147483732" r:id="rId12"/>
    <p:sldLayoutId id="2147483668" r:id="rId13"/>
    <p:sldLayoutId id="2147483750" r:id="rId14"/>
    <p:sldLayoutId id="2147483669" r:id="rId15"/>
    <p:sldLayoutId id="2147483670" r:id="rId16"/>
    <p:sldLayoutId id="2147483733" r:id="rId17"/>
    <p:sldLayoutId id="2147483752" r:id="rId18"/>
    <p:sldLayoutId id="2147483751" r:id="rId19"/>
    <p:sldLayoutId id="2147483748" r:id="rId20"/>
    <p:sldLayoutId id="2147483743" r:id="rId21"/>
    <p:sldLayoutId id="2147483742" r:id="rId22"/>
    <p:sldLayoutId id="2147483705" r:id="rId23"/>
    <p:sldLayoutId id="2147483735" r:id="rId24"/>
    <p:sldLayoutId id="2147483683" r:id="rId25"/>
    <p:sldLayoutId id="2147483738" r:id="rId26"/>
    <p:sldLayoutId id="2147483715" r:id="rId27"/>
    <p:sldLayoutId id="2147483749" r:id="rId28"/>
    <p:sldLayoutId id="2147483660" r:id="rId29"/>
    <p:sldLayoutId id="2147483682" r:id="rId30"/>
    <p:sldLayoutId id="2147483676" r:id="rId31"/>
    <p:sldLayoutId id="2147483691" r:id="rId32"/>
    <p:sldLayoutId id="2147483675" r:id="rId33"/>
    <p:sldLayoutId id="2147483745" r:id="rId34"/>
    <p:sldLayoutId id="2147483689" r:id="rId35"/>
    <p:sldLayoutId id="2147483690" r:id="rId36"/>
    <p:sldLayoutId id="2147483754" r:id="rId37"/>
    <p:sldLayoutId id="2147483940" r:id="rId38"/>
    <p:sldLayoutId id="2147483941" r:id="rId39"/>
    <p:sldLayoutId id="2147483942" r:id="rId4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Inter SemiBold" panose="02000503000000020004" pitchFamily="2" charset="0"/>
          <a:ea typeface="Inter SemiBold" panose="02000503000000020004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Inter" panose="02000503000000020004" pitchFamily="2" charset="0"/>
          <a:ea typeface="Inter" panose="02000503000000020004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Inter" panose="02000503000000020004" pitchFamily="2" charset="0"/>
          <a:ea typeface="Inter" panose="02000503000000020004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nter" panose="02000503000000020004" pitchFamily="2" charset="0"/>
          <a:ea typeface="Inter" panose="02000503000000020004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Inter" panose="02000503000000020004" pitchFamily="2" charset="0"/>
          <a:ea typeface="Inter" panose="02000503000000020004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Inter" panose="02000503000000020004" pitchFamily="2" charset="0"/>
          <a:ea typeface="Inter" panose="02000503000000020004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72393" y="366185"/>
            <a:ext cx="10808407" cy="108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394" y="1603165"/>
            <a:ext cx="10808405" cy="41338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GS Doctop Placeholder" hidden="1"/>
          <p:cNvSpPr txBox="1"/>
          <p:nvPr userDrawn="1"/>
        </p:nvSpPr>
        <p:spPr>
          <a:xfrm>
            <a:off x="728134" y="0"/>
            <a:ext cx="7535333" cy="42075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1067" b="0" i="0">
                <a:latin typeface="Arial" charset="0"/>
                <a:ea typeface="Arial" charset="0"/>
                <a:cs typeface="Arial" charset="0"/>
              </a:rPr>
              <a:t>IBDROOT\PROJECTS\IBD-NY\OPERAND2015\583992_1\Presentations\2016-01-25 Analyst Day\Project Elysium - Analyst Day Presentation (Updated 20150121).</a:t>
            </a:r>
            <a:r>
              <a:rPr lang="en-US" sz="1067" b="0" i="0" err="1">
                <a:latin typeface="Arial" charset="0"/>
                <a:ea typeface="Arial" charset="0"/>
                <a:cs typeface="Arial" charset="0"/>
              </a:rPr>
              <a:t>pptx</a:t>
            </a:r>
            <a:endParaRPr lang="en-US" sz="1067" b="0" i="0">
              <a:latin typeface="Arial" charset="0"/>
              <a:ea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0" r:id="rId2"/>
    <p:sldLayoutId id="2147483936" r:id="rId3"/>
    <p:sldLayoutId id="2147483937" r:id="rId4"/>
  </p:sldLayoutIdLst>
  <p:hf hdr="0" dt="0"/>
  <p:txStyles>
    <p:titleStyle>
      <a:lvl1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4572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9144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3716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18288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171450" indent="-171450" algn="l" defTabSz="685800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Clr>
          <a:schemeClr val="accent5"/>
        </a:buClr>
        <a:buFont typeface="Arial" charset="0"/>
        <a:buChar char="•"/>
        <a:defRPr sz="21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5143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8572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sz="15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2001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sz="13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5430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sz="13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12" userDrawn="1">
          <p15:clr>
            <a:srgbClr val="F26B43"/>
          </p15:clr>
        </p15:guide>
        <p15:guide id="2" pos="416" userDrawn="1">
          <p15:clr>
            <a:srgbClr val="F26B43"/>
          </p15:clr>
        </p15:guide>
        <p15:guide id="3" orient="horz" pos="4048" userDrawn="1">
          <p15:clr>
            <a:srgbClr val="F26B43"/>
          </p15:clr>
        </p15:guide>
        <p15:guide id="4" orient="horz" pos="19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se.linkedin.com/in/henriccronstrom" TargetMode="External"/><Relationship Id="rId2" Type="http://schemas.openxmlformats.org/officeDocument/2006/relationships/hyperlink" Target="https://qhic.se/2023/11/03/incremental-load/" TargetMode="Externa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8.png"/><Relationship Id="rId5" Type="http://schemas.openxmlformats.org/officeDocument/2006/relationships/customXml" Target="../ink/ink2.xml"/><Relationship Id="rId10" Type="http://schemas.openxmlformats.org/officeDocument/2006/relationships/hyperlink" Target="https://se.linkedin.com/in/henriccronstrom" TargetMode="External"/><Relationship Id="rId4" Type="http://schemas.openxmlformats.org/officeDocument/2006/relationships/image" Target="../media/image37.png"/><Relationship Id="rId9" Type="http://schemas.openxmlformats.org/officeDocument/2006/relationships/hyperlink" Target="https://qhic.se/2023/11/03/incremental-load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hyperlink" Target="https://se.linkedin.com/in/henriccronstrom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qhic.se/2023/11/03/incremental-load/" TargetMode="External"/><Relationship Id="rId5" Type="http://schemas.openxmlformats.org/officeDocument/2006/relationships/image" Target="../media/image35.png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qhic.se/2023/11/03/incremental-load/" TargetMode="Externa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se.linkedin.com/in/henriccronstrom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FD8C70D-0303-5E88-D7EB-D098CEE30E5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Incremental Load with Merge in Qlik Cloud</a:t>
            </a:r>
            <a:endParaRPr lang="en-US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39970D42-8CD2-8E5B-087D-27816459877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or near real-time use cas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D7DECB-7664-789C-FBB2-065ED7364C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/>
              <a:t>Alvaro Palacio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CA13646-B251-B2EB-39D2-C08335C383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it-IT" dirty="0"/>
              <a:t>Sr. OEM Solutions Architect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51767C6-D62D-0D7C-2C76-7D63AA4551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it-IT" dirty="0"/>
              <a:t>March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4086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B813B7-CA25-FE6F-67D2-E8D66E5462A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-app Mer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D198E5-6D5A-DE71-0FEC-20AA8EFFB68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7644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769602A-53CB-E8D2-0A9E-D8CE30721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i="1" dirty="0"/>
              <a:t>Merge</a:t>
            </a:r>
            <a:r>
              <a:rPr lang="en-US" dirty="0"/>
              <a:t> prefix in the load scri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995F118-F19D-3550-A4D2-C3D320EBA4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Image: </a:t>
            </a:r>
            <a:r>
              <a:rPr lang="en-US" dirty="0">
                <a:hlinkClick r:id="rId2"/>
              </a:rPr>
              <a:t>https://qhic.se/2023/11/03/incremental-load/</a:t>
            </a:r>
            <a:r>
              <a:rPr lang="en-US" dirty="0"/>
              <a:t> Credits to author </a:t>
            </a:r>
            <a:r>
              <a:rPr lang="en-GB" b="0" i="0" u="sng" dirty="0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Henric</a:t>
            </a:r>
            <a:r>
              <a:rPr lang="en-GB" b="0" i="0" u="sng" dirty="0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 </a:t>
            </a:r>
            <a:r>
              <a:rPr lang="en-GB" b="0" i="0" u="sng" dirty="0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Cronström</a:t>
            </a:r>
            <a:endParaRPr lang="en-GB" b="0" i="0" u="sng" dirty="0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D9D902E-62DF-E66A-6493-596AB2D4F8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957388"/>
            <a:ext cx="9753600" cy="2943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A7B65FB9-92A2-DA37-411F-CFC33C4C0E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235" y="5586057"/>
            <a:ext cx="7620000" cy="428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1CF7D0E-F1D2-1C2D-0A6D-9835C31D1219}"/>
              </a:ext>
            </a:extLst>
          </p:cNvPr>
          <p:cNvSpPr txBox="1"/>
          <p:nvPr/>
        </p:nvSpPr>
        <p:spPr>
          <a:xfrm>
            <a:off x="1431235" y="4884025"/>
            <a:ext cx="34387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Database e.g. MS SQL Serv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D3E462-1D94-7034-7656-CF6520601CCE}"/>
              </a:ext>
            </a:extLst>
          </p:cNvPr>
          <p:cNvSpPr txBox="1"/>
          <p:nvPr/>
        </p:nvSpPr>
        <p:spPr>
          <a:xfrm>
            <a:off x="9254108" y="4940701"/>
            <a:ext cx="11432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Qlik App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294B421-7E63-1395-F770-A70A5B994463}"/>
              </a:ext>
            </a:extLst>
          </p:cNvPr>
          <p:cNvSpPr/>
          <p:nvPr/>
        </p:nvSpPr>
        <p:spPr>
          <a:xfrm>
            <a:off x="1431235" y="1957388"/>
            <a:ext cx="6182139" cy="2943225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1D39E95-918F-58B0-E8CB-E6BF5FA287E9}"/>
              </a:ext>
            </a:extLst>
          </p:cNvPr>
          <p:cNvSpPr/>
          <p:nvPr/>
        </p:nvSpPr>
        <p:spPr>
          <a:xfrm>
            <a:off x="8421758" y="1977432"/>
            <a:ext cx="2763078" cy="2943225"/>
          </a:xfrm>
          <a:prstGeom prst="rect">
            <a:avLst/>
          </a:prstGeom>
          <a:noFill/>
          <a:ln>
            <a:solidFill>
              <a:srgbClr val="00B050"/>
            </a:solidFill>
            <a:prstDash val="sysDot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45CCEFC-76BD-8C4D-C9AD-99A34A3008E2}"/>
              </a:ext>
            </a:extLst>
          </p:cNvPr>
          <p:cNvGrpSpPr/>
          <p:nvPr/>
        </p:nvGrpSpPr>
        <p:grpSpPr>
          <a:xfrm>
            <a:off x="10802935" y="4557678"/>
            <a:ext cx="339730" cy="326347"/>
            <a:chOff x="7648076" y="4072368"/>
            <a:chExt cx="271525" cy="260829"/>
          </a:xfrm>
          <a:solidFill>
            <a:srgbClr val="00B050"/>
          </a:solidFill>
        </p:grpSpPr>
        <p:sp>
          <p:nvSpPr>
            <p:cNvPr id="18" name="Rounded Rectangle 99">
              <a:extLst>
                <a:ext uri="{FF2B5EF4-FFF2-40B4-BE49-F238E27FC236}">
                  <a16:creationId xmlns:a16="http://schemas.microsoft.com/office/drawing/2014/main" id="{04FC60F3-BC3B-9938-7ADA-B9E06DFCD06B}"/>
                </a:ext>
              </a:extLst>
            </p:cNvPr>
            <p:cNvSpPr/>
            <p:nvPr/>
          </p:nvSpPr>
          <p:spPr>
            <a:xfrm>
              <a:off x="7648076" y="4072368"/>
              <a:ext cx="271525" cy="26082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 b="1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E253A33-4B1D-9DD4-DB84-C379E95186C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biLevel thresh="25000"/>
            </a:blip>
            <a:stretch>
              <a:fillRect/>
            </a:stretch>
          </p:blipFill>
          <p:spPr>
            <a:xfrm>
              <a:off x="7659973" y="4075543"/>
              <a:ext cx="247730" cy="247730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3390875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1C5E50-B5C3-86A2-F9DE-C6487C7410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3BFCDF7-B76A-EE4A-9647-B0AB61850522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6E1A70-9BDE-5B12-F326-8715F8114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i="1" dirty="0"/>
              <a:t>Merge</a:t>
            </a:r>
            <a:r>
              <a:rPr lang="en-US" dirty="0"/>
              <a:t> </a:t>
            </a:r>
            <a:r>
              <a:rPr lang="en-US" i="1" dirty="0"/>
              <a:t>Only</a:t>
            </a:r>
            <a:r>
              <a:rPr lang="en-US" dirty="0"/>
              <a:t> prefix in the load script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D999510-C73A-9894-CC0E-D15C9DE19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1590675"/>
            <a:ext cx="7620000" cy="3676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ight Brace 11">
            <a:extLst>
              <a:ext uri="{FF2B5EF4-FFF2-40B4-BE49-F238E27FC236}">
                <a16:creationId xmlns:a16="http://schemas.microsoft.com/office/drawing/2014/main" id="{A49FE3A5-71B4-E98A-5D3C-952350349C63}"/>
              </a:ext>
            </a:extLst>
          </p:cNvPr>
          <p:cNvSpPr/>
          <p:nvPr/>
        </p:nvSpPr>
        <p:spPr>
          <a:xfrm>
            <a:off x="9288117" y="1771632"/>
            <a:ext cx="387626" cy="1808918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9850F946-4544-6234-31DE-0E5A5B7CB868}"/>
              </a:ext>
            </a:extLst>
          </p:cNvPr>
          <p:cNvSpPr/>
          <p:nvPr/>
        </p:nvSpPr>
        <p:spPr>
          <a:xfrm>
            <a:off x="9288117" y="3779358"/>
            <a:ext cx="387626" cy="1808918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63E03D-B0E2-0BBB-AECA-2CD1660ECC1D}"/>
              </a:ext>
            </a:extLst>
          </p:cNvPr>
          <p:cNvSpPr txBox="1"/>
          <p:nvPr/>
        </p:nvSpPr>
        <p:spPr>
          <a:xfrm>
            <a:off x="9906000" y="2491425"/>
            <a:ext cx="1176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ull loa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846BFAA-7BC5-F73B-4D04-7DDB8EDFBABD}"/>
              </a:ext>
            </a:extLst>
          </p:cNvPr>
          <p:cNvSpPr txBox="1"/>
          <p:nvPr/>
        </p:nvSpPr>
        <p:spPr>
          <a:xfrm>
            <a:off x="9906000" y="4499151"/>
            <a:ext cx="14345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rtial load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0CC2EF72-3B6C-4BE6-5FEE-70551D630FA6}"/>
                  </a:ext>
                </a:extLst>
              </p14:cNvPr>
              <p14:cNvContentPartPr/>
              <p14:nvPr/>
            </p14:nvContentPartPr>
            <p14:xfrm>
              <a:off x="3001555" y="4005313"/>
              <a:ext cx="366840" cy="3060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0CC2EF72-3B6C-4BE6-5FEE-70551D630FA6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947555" y="3897313"/>
                <a:ext cx="474480" cy="246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DED87D89-3846-1F17-20DF-F8E8BDF48BB6}"/>
                  </a:ext>
                </a:extLst>
              </p14:cNvPr>
              <p14:cNvContentPartPr/>
              <p14:nvPr/>
            </p14:nvContentPartPr>
            <p14:xfrm>
              <a:off x="5128435" y="1804633"/>
              <a:ext cx="3394440" cy="34920"/>
            </p14:xfrm>
          </p:contentPart>
        </mc:Choice>
        <mc:Fallback xmlns=""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DED87D89-3846-1F17-20DF-F8E8BDF48BB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074435" y="1696993"/>
                <a:ext cx="3502080" cy="250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EF443F8F-3929-1048-FDEE-5EA862B2DA28}"/>
                  </a:ext>
                </a:extLst>
              </p14:cNvPr>
              <p14:cNvContentPartPr/>
              <p14:nvPr/>
            </p14:nvContentPartPr>
            <p14:xfrm>
              <a:off x="5903875" y="3815593"/>
              <a:ext cx="2871360" cy="52200"/>
            </p14:xfrm>
          </p:contentPart>
        </mc:Choice>
        <mc:Fallback xmlns=""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EF443F8F-3929-1048-FDEE-5EA862B2DA28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849875" y="3707953"/>
                <a:ext cx="2979000" cy="26784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6F432D7-F21C-F9BF-5CBA-36C86313A7A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30350" y="6461125"/>
            <a:ext cx="7123113" cy="196850"/>
          </a:xfrm>
        </p:spPr>
        <p:txBody>
          <a:bodyPr/>
          <a:lstStyle/>
          <a:p>
            <a:r>
              <a:rPr lang="en-US" dirty="0"/>
              <a:t>Code: </a:t>
            </a:r>
            <a:r>
              <a:rPr lang="en-US" dirty="0">
                <a:hlinkClick r:id="rId9"/>
              </a:rPr>
              <a:t>https://qhic.se/2023/11/03/incremental-load/</a:t>
            </a:r>
            <a:r>
              <a:rPr lang="en-US" dirty="0"/>
              <a:t> Credits to author </a:t>
            </a:r>
            <a:r>
              <a:rPr lang="en-GB" b="0" i="0" u="sng" dirty="0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10"/>
              </a:rPr>
              <a:t>Henric</a:t>
            </a:r>
            <a:r>
              <a:rPr lang="en-GB" b="0" i="0" u="sng" dirty="0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10"/>
              </a:rPr>
              <a:t> </a:t>
            </a:r>
            <a:r>
              <a:rPr lang="en-GB" b="0" i="0" u="sng" dirty="0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10"/>
              </a:rPr>
              <a:t>Cronström</a:t>
            </a:r>
            <a:endParaRPr lang="en-GB" b="0" i="0" u="sng" dirty="0">
              <a:solidFill>
                <a:srgbClr val="1A0DAB"/>
              </a:solidFill>
              <a:effectLst/>
              <a:latin typeface="arial" panose="020B0604020202020204" pitchFamily="34" charset="0"/>
              <a:hlinkClick r:id="rId10"/>
            </a:endParaRP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95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6B2BB-79EF-F3EA-84E2-2F20C3731C0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QVD Merg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B0F0BC-A418-C4C4-2CFB-496AB8C752C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6549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6D306-3B1A-8F29-609C-49C8A831B2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E3262BC-D44C-AC8D-00AE-640DE2A3E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i="1" dirty="0"/>
              <a:t>Merge</a:t>
            </a:r>
            <a:r>
              <a:rPr lang="en-US" dirty="0"/>
              <a:t> prefix in the load script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0E6BB20-1239-C202-74C2-F0CC19A9C5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957388"/>
            <a:ext cx="9753600" cy="2943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271BC1E-89E7-1905-D6BD-7DCBC0B90F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235" y="5586057"/>
            <a:ext cx="7620000" cy="428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6A96719-54FC-9866-3D1D-26973448F8B7}"/>
              </a:ext>
            </a:extLst>
          </p:cNvPr>
          <p:cNvSpPr txBox="1"/>
          <p:nvPr/>
        </p:nvSpPr>
        <p:spPr>
          <a:xfrm>
            <a:off x="1431235" y="4922447"/>
            <a:ext cx="31357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QVD file with current vie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B37601-CABD-6E09-BFD0-4C93C0A1A15D}"/>
              </a:ext>
            </a:extLst>
          </p:cNvPr>
          <p:cNvSpPr txBox="1"/>
          <p:nvPr/>
        </p:nvSpPr>
        <p:spPr>
          <a:xfrm>
            <a:off x="8183302" y="4922447"/>
            <a:ext cx="31550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QVD file includes chang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2E8BA3-9EA0-CD98-374E-895FC0EE53AF}"/>
              </a:ext>
            </a:extLst>
          </p:cNvPr>
          <p:cNvSpPr/>
          <p:nvPr/>
        </p:nvSpPr>
        <p:spPr>
          <a:xfrm>
            <a:off x="1431235" y="1957388"/>
            <a:ext cx="6182139" cy="2943225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8263D3-F535-1DE6-3071-B667EF025CDA}"/>
              </a:ext>
            </a:extLst>
          </p:cNvPr>
          <p:cNvSpPr/>
          <p:nvPr/>
        </p:nvSpPr>
        <p:spPr>
          <a:xfrm>
            <a:off x="8421758" y="1977432"/>
            <a:ext cx="2763078" cy="2943225"/>
          </a:xfrm>
          <a:prstGeom prst="rect">
            <a:avLst/>
          </a:prstGeom>
          <a:noFill/>
          <a:ln>
            <a:solidFill>
              <a:srgbClr val="00B050"/>
            </a:solidFill>
            <a:prstDash val="sysDot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CA605B2-D57A-68C7-4E39-5A8DABE5CE06}"/>
              </a:ext>
            </a:extLst>
          </p:cNvPr>
          <p:cNvGrpSpPr/>
          <p:nvPr/>
        </p:nvGrpSpPr>
        <p:grpSpPr>
          <a:xfrm>
            <a:off x="11372140" y="3338275"/>
            <a:ext cx="620439" cy="577716"/>
            <a:chOff x="7648076" y="4072368"/>
            <a:chExt cx="271525" cy="260829"/>
          </a:xfrm>
        </p:grpSpPr>
        <p:sp>
          <p:nvSpPr>
            <p:cNvPr id="25" name="Rounded Rectangle 99">
              <a:extLst>
                <a:ext uri="{FF2B5EF4-FFF2-40B4-BE49-F238E27FC236}">
                  <a16:creationId xmlns:a16="http://schemas.microsoft.com/office/drawing/2014/main" id="{6DD4DD7C-2935-16ED-E0DB-543C5B5E0947}"/>
                </a:ext>
              </a:extLst>
            </p:cNvPr>
            <p:cNvSpPr/>
            <p:nvPr/>
          </p:nvSpPr>
          <p:spPr>
            <a:xfrm>
              <a:off x="7648076" y="4072368"/>
              <a:ext cx="271525" cy="260829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 b="1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E2C436D-CE13-2EEF-C34A-A546918C82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biLevel thresh="25000"/>
            </a:blip>
            <a:stretch>
              <a:fillRect/>
            </a:stretch>
          </p:blipFill>
          <p:spPr>
            <a:xfrm>
              <a:off x="7659973" y="4075543"/>
              <a:ext cx="247730" cy="247730"/>
            </a:xfrm>
            <a:prstGeom prst="rect">
              <a:avLst/>
            </a:prstGeom>
          </p:spPr>
        </p:pic>
      </p:grp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F06E61C-33E2-63A5-3331-00F6F02F2D13}"/>
              </a:ext>
            </a:extLst>
          </p:cNvPr>
          <p:cNvCxnSpPr>
            <a:cxnSpLocks/>
          </p:cNvCxnSpPr>
          <p:nvPr/>
        </p:nvCxnSpPr>
        <p:spPr>
          <a:xfrm>
            <a:off x="10661904" y="3627133"/>
            <a:ext cx="717763" cy="0"/>
          </a:xfrm>
          <a:prstGeom prst="straightConnector1">
            <a:avLst/>
          </a:prstGeom>
          <a:ln w="22225">
            <a:solidFill>
              <a:schemeClr val="accent4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4B5DEC39-4AC5-295D-1C4C-E6F7AB107C2C}"/>
              </a:ext>
            </a:extLst>
          </p:cNvPr>
          <p:cNvSpPr txBox="1"/>
          <p:nvPr/>
        </p:nvSpPr>
        <p:spPr>
          <a:xfrm>
            <a:off x="11141998" y="3914146"/>
            <a:ext cx="11074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A9B3B6"/>
                </a:solidFill>
              </a:rPr>
              <a:t>Qlik Ap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032BF9C-0401-95E4-A165-3A8CB63AF0B2}"/>
              </a:ext>
            </a:extLst>
          </p:cNvPr>
          <p:cNvSpPr/>
          <p:nvPr/>
        </p:nvSpPr>
        <p:spPr>
          <a:xfrm>
            <a:off x="1682496" y="3627133"/>
            <a:ext cx="1399032" cy="761987"/>
          </a:xfrm>
          <a:prstGeom prst="rect">
            <a:avLst/>
          </a:prstGeom>
          <a:solidFill>
            <a:srgbClr val="19416C"/>
          </a:solidFill>
          <a:ln>
            <a:solidFill>
              <a:srgbClr val="3D608F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15A5970-DC7B-0253-5E8E-C72BD7D9AADA}"/>
              </a:ext>
            </a:extLst>
          </p:cNvPr>
          <p:cNvGrpSpPr/>
          <p:nvPr/>
        </p:nvGrpSpPr>
        <p:grpSpPr>
          <a:xfrm>
            <a:off x="2115338" y="3804998"/>
            <a:ext cx="533348" cy="447702"/>
            <a:chOff x="3511443" y="2241263"/>
            <a:chExt cx="533348" cy="44770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B64F2D5-806A-994F-BB18-A4FFEDC236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biLevel thresh="25000"/>
            </a:blip>
            <a:stretch>
              <a:fillRect/>
            </a:stretch>
          </p:blipFill>
          <p:spPr>
            <a:xfrm>
              <a:off x="3760667" y="2404839"/>
              <a:ext cx="284124" cy="284126"/>
            </a:xfrm>
            <a:prstGeom prst="rect">
              <a:avLst/>
            </a:prstGeom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C3E888C2-EAA6-9118-373C-3AC6AD96DE16}"/>
                </a:ext>
              </a:extLst>
            </p:cNvPr>
            <p:cNvGrpSpPr/>
            <p:nvPr/>
          </p:nvGrpSpPr>
          <p:grpSpPr>
            <a:xfrm>
              <a:off x="3624463" y="2318892"/>
              <a:ext cx="344784" cy="331204"/>
              <a:chOff x="7292113" y="3754890"/>
              <a:chExt cx="271525" cy="260830"/>
            </a:xfrm>
          </p:grpSpPr>
          <p:sp>
            <p:nvSpPr>
              <p:cNvPr id="14" name="Rounded Rectangle 80">
                <a:extLst>
                  <a:ext uri="{FF2B5EF4-FFF2-40B4-BE49-F238E27FC236}">
                    <a16:creationId xmlns:a16="http://schemas.microsoft.com/office/drawing/2014/main" id="{84907670-20D7-B09D-A83A-DEC3C3E93F38}"/>
                  </a:ext>
                </a:extLst>
              </p:cNvPr>
              <p:cNvSpPr/>
              <p:nvPr/>
            </p:nvSpPr>
            <p:spPr>
              <a:xfrm>
                <a:off x="7292113" y="3754890"/>
                <a:ext cx="271525" cy="260830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 b="1">
                  <a:solidFill>
                    <a:schemeClr val="bg1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5869F869-0991-AE96-D1EA-12D969D804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biLevel thresh="25000"/>
              </a:blip>
              <a:stretch>
                <a:fillRect/>
              </a:stretch>
            </p:blipFill>
            <p:spPr>
              <a:xfrm>
                <a:off x="7315048" y="3772538"/>
                <a:ext cx="223754" cy="223755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4B7C330-6543-0738-07EF-664BE039D77C}"/>
                </a:ext>
              </a:extLst>
            </p:cNvPr>
            <p:cNvGrpSpPr/>
            <p:nvPr/>
          </p:nvGrpSpPr>
          <p:grpSpPr>
            <a:xfrm>
              <a:off x="3511443" y="2241263"/>
              <a:ext cx="344784" cy="331204"/>
              <a:chOff x="7292113" y="3754890"/>
              <a:chExt cx="271525" cy="260830"/>
            </a:xfrm>
          </p:grpSpPr>
          <p:sp>
            <p:nvSpPr>
              <p:cNvPr id="12" name="Rounded Rectangle 78">
                <a:extLst>
                  <a:ext uri="{FF2B5EF4-FFF2-40B4-BE49-F238E27FC236}">
                    <a16:creationId xmlns:a16="http://schemas.microsoft.com/office/drawing/2014/main" id="{074719C2-8000-B6D4-7691-27A4D8E99A68}"/>
                  </a:ext>
                </a:extLst>
              </p:cNvPr>
              <p:cNvSpPr/>
              <p:nvPr/>
            </p:nvSpPr>
            <p:spPr>
              <a:xfrm>
                <a:off x="7292113" y="3754890"/>
                <a:ext cx="271525" cy="260830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 b="1">
                  <a:solidFill>
                    <a:schemeClr val="bg1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539FA8A7-D5A3-CFEC-C144-4CA5776D43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biLevel thresh="25000"/>
              </a:blip>
              <a:stretch>
                <a:fillRect/>
              </a:stretch>
            </p:blipFill>
            <p:spPr>
              <a:xfrm>
                <a:off x="7315048" y="3772538"/>
                <a:ext cx="223754" cy="223755"/>
              </a:xfrm>
              <a:prstGeom prst="rect">
                <a:avLst/>
              </a:prstGeom>
            </p:spPr>
          </p:pic>
        </p:grp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E77BEB41-206F-B4EA-6D24-40C0F8165CEA}"/>
              </a:ext>
            </a:extLst>
          </p:cNvPr>
          <p:cNvSpPr/>
          <p:nvPr/>
        </p:nvSpPr>
        <p:spPr>
          <a:xfrm>
            <a:off x="9113301" y="3614404"/>
            <a:ext cx="1399032" cy="761987"/>
          </a:xfrm>
          <a:prstGeom prst="rect">
            <a:avLst/>
          </a:prstGeom>
          <a:solidFill>
            <a:srgbClr val="19416C"/>
          </a:solidFill>
          <a:ln>
            <a:solidFill>
              <a:srgbClr val="3D608F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666AC01-1935-5E1C-9C82-7B7E46C743C2}"/>
              </a:ext>
            </a:extLst>
          </p:cNvPr>
          <p:cNvGrpSpPr/>
          <p:nvPr/>
        </p:nvGrpSpPr>
        <p:grpSpPr>
          <a:xfrm>
            <a:off x="9546143" y="3784275"/>
            <a:ext cx="533348" cy="447702"/>
            <a:chOff x="3511443" y="2241263"/>
            <a:chExt cx="533348" cy="447702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D48F6F7-15B3-6C67-8F69-C7CD66ABD9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biLevel thresh="25000"/>
            </a:blip>
            <a:stretch>
              <a:fillRect/>
            </a:stretch>
          </p:blipFill>
          <p:spPr>
            <a:xfrm>
              <a:off x="3760667" y="2404839"/>
              <a:ext cx="284124" cy="284126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013107C-5499-F914-636A-28F5BCAEDCBB}"/>
                </a:ext>
              </a:extLst>
            </p:cNvPr>
            <p:cNvGrpSpPr/>
            <p:nvPr/>
          </p:nvGrpSpPr>
          <p:grpSpPr>
            <a:xfrm>
              <a:off x="3624463" y="2318892"/>
              <a:ext cx="344784" cy="331204"/>
              <a:chOff x="7292113" y="3754890"/>
              <a:chExt cx="271525" cy="260830"/>
            </a:xfrm>
          </p:grpSpPr>
          <p:sp>
            <p:nvSpPr>
              <p:cNvPr id="22" name="Rounded Rectangle 80">
                <a:extLst>
                  <a:ext uri="{FF2B5EF4-FFF2-40B4-BE49-F238E27FC236}">
                    <a16:creationId xmlns:a16="http://schemas.microsoft.com/office/drawing/2014/main" id="{C91D302C-A013-8805-220D-6ACA70027E8E}"/>
                  </a:ext>
                </a:extLst>
              </p:cNvPr>
              <p:cNvSpPr/>
              <p:nvPr/>
            </p:nvSpPr>
            <p:spPr>
              <a:xfrm>
                <a:off x="7292113" y="3754890"/>
                <a:ext cx="271525" cy="260830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 b="1">
                  <a:solidFill>
                    <a:schemeClr val="bg1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A2758D66-1E60-6E73-28E9-CBF79DBDAA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biLevel thresh="25000"/>
              </a:blip>
              <a:stretch>
                <a:fillRect/>
              </a:stretch>
            </p:blipFill>
            <p:spPr>
              <a:xfrm>
                <a:off x="7315048" y="3772538"/>
                <a:ext cx="223754" cy="223755"/>
              </a:xfrm>
              <a:prstGeom prst="rect">
                <a:avLst/>
              </a:prstGeom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1F8856-BBEA-56B3-B929-F8D41DE2ECAB}"/>
                </a:ext>
              </a:extLst>
            </p:cNvPr>
            <p:cNvGrpSpPr/>
            <p:nvPr/>
          </p:nvGrpSpPr>
          <p:grpSpPr>
            <a:xfrm>
              <a:off x="3511443" y="2241263"/>
              <a:ext cx="344784" cy="331204"/>
              <a:chOff x="7292113" y="3754890"/>
              <a:chExt cx="271525" cy="260830"/>
            </a:xfrm>
          </p:grpSpPr>
          <p:sp>
            <p:nvSpPr>
              <p:cNvPr id="20" name="Rounded Rectangle 78">
                <a:extLst>
                  <a:ext uri="{FF2B5EF4-FFF2-40B4-BE49-F238E27FC236}">
                    <a16:creationId xmlns:a16="http://schemas.microsoft.com/office/drawing/2014/main" id="{D59FD92F-1FBA-750D-C980-3CB0EEC72655}"/>
                  </a:ext>
                </a:extLst>
              </p:cNvPr>
              <p:cNvSpPr/>
              <p:nvPr/>
            </p:nvSpPr>
            <p:spPr>
              <a:xfrm>
                <a:off x="7292113" y="3754890"/>
                <a:ext cx="271525" cy="260830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 b="1">
                  <a:solidFill>
                    <a:schemeClr val="bg1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4C67F84B-66CE-06FA-AECE-975F1C3872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biLevel thresh="25000"/>
              </a:blip>
              <a:stretch>
                <a:fillRect/>
              </a:stretch>
            </p:blipFill>
            <p:spPr>
              <a:xfrm>
                <a:off x="7315048" y="3772538"/>
                <a:ext cx="223754" cy="223755"/>
              </a:xfrm>
              <a:prstGeom prst="rect">
                <a:avLst/>
              </a:prstGeom>
            </p:spPr>
          </p:pic>
        </p:grpSp>
      </p:grp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FDF4B1A-86D1-A818-6BF4-DEE1C0448C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30350" y="6461125"/>
            <a:ext cx="7123113" cy="196850"/>
          </a:xfrm>
        </p:spPr>
        <p:txBody>
          <a:bodyPr/>
          <a:lstStyle/>
          <a:p>
            <a:r>
              <a:rPr lang="en-US" dirty="0"/>
              <a:t>Image: </a:t>
            </a:r>
            <a:r>
              <a:rPr lang="en-US" dirty="0">
                <a:hlinkClick r:id="rId6"/>
              </a:rPr>
              <a:t>https://qhic.se/2023/11/03/incremental-load/</a:t>
            </a:r>
            <a:r>
              <a:rPr lang="en-US" dirty="0"/>
              <a:t> Credits to author </a:t>
            </a:r>
            <a:r>
              <a:rPr lang="en-GB" b="0" i="0" u="sng" dirty="0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7"/>
              </a:rPr>
              <a:t>Henric</a:t>
            </a:r>
            <a:r>
              <a:rPr lang="en-GB" b="0" i="0" u="sng" dirty="0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7"/>
              </a:rPr>
              <a:t> </a:t>
            </a:r>
            <a:r>
              <a:rPr lang="en-GB" b="0" i="0" u="sng" dirty="0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7"/>
              </a:rPr>
              <a:t>Cronström</a:t>
            </a:r>
            <a:endParaRPr lang="en-GB" b="0" i="0" u="sng" dirty="0">
              <a:solidFill>
                <a:srgbClr val="1A0DAB"/>
              </a:solidFill>
              <a:effectLst/>
              <a:latin typeface="arial" panose="020B0604020202020204" pitchFamily="34" charset="0"/>
              <a:hlinkClick r:id="rId7"/>
            </a:endParaRP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963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60D8CD1-ED6B-3FCE-4C79-9D6CBBC76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i="1" dirty="0"/>
              <a:t>Merge</a:t>
            </a:r>
            <a:r>
              <a:rPr lang="en-US" dirty="0"/>
              <a:t> prefix in the load script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66F00A8C-7002-2C14-A59F-E6C22C9F52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1714500"/>
            <a:ext cx="76200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ight Brace 7">
            <a:extLst>
              <a:ext uri="{FF2B5EF4-FFF2-40B4-BE49-F238E27FC236}">
                <a16:creationId xmlns:a16="http://schemas.microsoft.com/office/drawing/2014/main" id="{034162F8-1862-138B-1C5A-19E24009B6DC}"/>
              </a:ext>
            </a:extLst>
          </p:cNvPr>
          <p:cNvSpPr/>
          <p:nvPr/>
        </p:nvSpPr>
        <p:spPr>
          <a:xfrm>
            <a:off x="7896639" y="1841206"/>
            <a:ext cx="387626" cy="3429000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F3827D-C731-DE73-0587-53662D8652E4}"/>
              </a:ext>
            </a:extLst>
          </p:cNvPr>
          <p:cNvSpPr txBox="1"/>
          <p:nvPr/>
        </p:nvSpPr>
        <p:spPr>
          <a:xfrm>
            <a:off x="8365435" y="3390419"/>
            <a:ext cx="1176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ull load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AD29FBEF-EBA5-E3D2-1E8E-4A1089531E1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30350" y="6461125"/>
            <a:ext cx="7123113" cy="196850"/>
          </a:xfrm>
        </p:spPr>
        <p:txBody>
          <a:bodyPr/>
          <a:lstStyle/>
          <a:p>
            <a:r>
              <a:rPr lang="en-US"/>
              <a:t>Code: </a:t>
            </a:r>
            <a:r>
              <a:rPr lang="en-US" dirty="0">
                <a:hlinkClick r:id="rId3"/>
              </a:rPr>
              <a:t>https://qhic.se/2023/11/03/incremental-load/</a:t>
            </a:r>
            <a:r>
              <a:rPr lang="en-US" dirty="0"/>
              <a:t> Credits to author </a:t>
            </a:r>
            <a:r>
              <a:rPr lang="en-GB" b="0" i="0" u="sng" dirty="0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4"/>
              </a:rPr>
              <a:t>Henric</a:t>
            </a:r>
            <a:r>
              <a:rPr lang="en-GB" b="0" i="0" u="sng" dirty="0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4"/>
              </a:rPr>
              <a:t> </a:t>
            </a:r>
            <a:r>
              <a:rPr lang="en-GB" b="0" i="0" u="sng" dirty="0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4"/>
              </a:rPr>
              <a:t>Cronström</a:t>
            </a:r>
            <a:endParaRPr lang="en-GB" b="0" i="0" u="sng" dirty="0">
              <a:solidFill>
                <a:srgbClr val="1A0DAB"/>
              </a:solidFill>
              <a:effectLst/>
              <a:latin typeface="arial" panose="020B0604020202020204" pitchFamily="34" charset="0"/>
              <a:hlinkClick r:id="rId4"/>
            </a:endParaRP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5609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94C397-7200-2755-B5FA-7DD6FE6549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E4E0D7-2225-8826-C5EC-FDE0FACA9F0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erge Demo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AB19E1-05F0-C746-4D3E-E4CE14029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571" y="4203220"/>
            <a:ext cx="8419109" cy="876734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en-US" dirty="0"/>
              <a:t>In-app </a:t>
            </a:r>
            <a:r>
              <a:rPr lang="en-US" i="1" dirty="0"/>
              <a:t>Merge</a:t>
            </a:r>
            <a:r>
              <a:rPr lang="en-US" dirty="0"/>
              <a:t> using SQL Server (AWS) + Partial Reload</a:t>
            </a:r>
          </a:p>
          <a:p>
            <a:pPr marL="457200" indent="-457200">
              <a:buAutoNum type="arabicPeriod"/>
            </a:pPr>
            <a:r>
              <a:rPr lang="en-US" dirty="0"/>
              <a:t>QVD file </a:t>
            </a:r>
            <a:r>
              <a:rPr lang="en-US" i="1" dirty="0"/>
              <a:t>Merge</a:t>
            </a:r>
            <a:r>
              <a:rPr lang="en-US" dirty="0"/>
              <a:t> using SQL Server (AWS) + Full Reload</a:t>
            </a:r>
          </a:p>
        </p:txBody>
      </p:sp>
    </p:spTree>
    <p:extLst>
      <p:ext uri="{BB962C8B-B14F-4D97-AF65-F5344CB8AC3E}">
        <p14:creationId xmlns:p14="http://schemas.microsoft.com/office/powerpoint/2010/main" val="32315100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86219510-240D-A791-B0CC-60B2283806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/>
              <a:t>Thanks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429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Qlik Color Palette">
      <a:dk1>
        <a:srgbClr val="545659"/>
      </a:dk1>
      <a:lt1>
        <a:srgbClr val="FFFFFF"/>
      </a:lt1>
      <a:dk2>
        <a:srgbClr val="19416C"/>
      </a:dk2>
      <a:lt2>
        <a:srgbClr val="F6F7F8"/>
      </a:lt2>
      <a:accent1>
        <a:srgbClr val="009845"/>
      </a:accent1>
      <a:accent2>
        <a:srgbClr val="19416C"/>
      </a:accent2>
      <a:accent3>
        <a:srgbClr val="006580"/>
      </a:accent3>
      <a:accent4>
        <a:srgbClr val="10CFC9"/>
      </a:accent4>
      <a:accent5>
        <a:srgbClr val="93579C"/>
      </a:accent5>
      <a:accent6>
        <a:srgbClr val="A9B3B6"/>
      </a:accent6>
      <a:hlink>
        <a:srgbClr val="19406C"/>
      </a:hlink>
      <a:folHlink>
        <a:srgbClr val="2D3543"/>
      </a:folHlink>
    </a:clrScheme>
    <a:fontScheme name="Inter">
      <a:majorFont>
        <a:latin typeface="Inter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/>
      <a:lstStyle/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4" id="{D62CFE7B-12E2-1B4D-BD51-F278ADA99104}" vid="{ED4F33FE-88E5-D94E-A5B0-16F88A3F9F15}"/>
    </a:ext>
  </a:extLst>
</a:theme>
</file>

<file path=ppt/theme/theme2.xml><?xml version="1.0" encoding="utf-8"?>
<a:theme xmlns:a="http://schemas.openxmlformats.org/drawingml/2006/main" name="boxi_talend_corporate_deck_2015">
  <a:themeElements>
    <a:clrScheme name="Custom 11">
      <a:dk1>
        <a:srgbClr val="545659"/>
      </a:dk1>
      <a:lt1>
        <a:srgbClr val="FFFFFF"/>
      </a:lt1>
      <a:dk2>
        <a:srgbClr val="244B59"/>
      </a:dk2>
      <a:lt2>
        <a:srgbClr val="1C345E"/>
      </a:lt2>
      <a:accent1>
        <a:srgbClr val="006580"/>
      </a:accent1>
      <a:accent2>
        <a:srgbClr val="870064"/>
      </a:accent2>
      <a:accent3>
        <a:srgbClr val="005CB9"/>
      </a:accent3>
      <a:accent4>
        <a:srgbClr val="156838"/>
      </a:accent4>
      <a:accent5>
        <a:srgbClr val="009845"/>
      </a:accent5>
      <a:accent6>
        <a:srgbClr val="655DC6"/>
      </a:accent6>
      <a:hlink>
        <a:srgbClr val="274B5A"/>
      </a:hlink>
      <a:folHlink>
        <a:srgbClr val="1867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lik_PPT_Template_091118" id="{E34E95C5-CE3F-044A-891C-98E438D1BEE7}" vid="{5BFE0B8E-2B30-9E41-9920-86294CEFF64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427728134D8E438DB24F119626A238" ma:contentTypeVersion="12" ma:contentTypeDescription="Create a new document." ma:contentTypeScope="" ma:versionID="25d57663dbc80260d6be9dbd4bf956a6">
  <xsd:schema xmlns:xsd="http://www.w3.org/2001/XMLSchema" xmlns:xs="http://www.w3.org/2001/XMLSchema" xmlns:p="http://schemas.microsoft.com/office/2006/metadata/properties" xmlns:ns2="29080d49-e7be-4021-9aa2-ece0e2248fc1" xmlns:ns3="daa02f57-d242-484a-912c-78bcbabd3955" targetNamespace="http://schemas.microsoft.com/office/2006/metadata/properties" ma:root="true" ma:fieldsID="73d061b23210d327ea516fda20241e31" ns2:_="" ns3:_="">
    <xsd:import namespace="29080d49-e7be-4021-9aa2-ece0e2248fc1"/>
    <xsd:import namespace="daa02f57-d242-484a-912c-78bcbabd39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080d49-e7be-4021-9aa2-ece0e2248f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23ae771-9a71-45a4-863b-ab0f59569b8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a02f57-d242-484a-912c-78bcbabd3955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33981fe-ff8f-4cec-a916-8d5a12fc0ecc}" ma:internalName="TaxCatchAll" ma:showField="CatchAllData" ma:web="daa02f57-d242-484a-912c-78bcbabd395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aa02f57-d242-484a-912c-78bcbabd3955" xsi:nil="true"/>
    <lcf76f155ced4ddcb4097134ff3c332f xmlns="29080d49-e7be-4021-9aa2-ece0e2248fc1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A0EC0DF-279D-4AC7-8BEF-CA0AD15496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080d49-e7be-4021-9aa2-ece0e2248fc1"/>
    <ds:schemaRef ds:uri="daa02f57-d242-484a-912c-78bcbabd39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91BB3BB-6FC0-464D-BEAC-F3B79DFB0D05}">
  <ds:schemaRefs>
    <ds:schemaRef ds:uri="29080d49-e7be-4021-9aa2-ece0e2248fc1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purl.org/dc/dcmitype/"/>
    <ds:schemaRef ds:uri="daa02f57-d242-484a-912c-78bcbabd3955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B987C5FA-74D3-4AE0-ACAE-15D59C4170B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ta Gateway Direct Access - High Availability</Template>
  <TotalTime>5683</TotalTime>
  <Words>181</Words>
  <Application>Microsoft Office PowerPoint</Application>
  <PresentationFormat>Widescreen</PresentationFormat>
  <Paragraphs>31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rial</vt:lpstr>
      <vt:lpstr>Arial</vt:lpstr>
      <vt:lpstr>Calibri</vt:lpstr>
      <vt:lpstr>Inter Light</vt:lpstr>
      <vt:lpstr>Inter SemiBold</vt:lpstr>
      <vt:lpstr>Inter</vt:lpstr>
      <vt:lpstr>Helvetica</vt:lpstr>
      <vt:lpstr>Courier New</vt:lpstr>
      <vt:lpstr>Office Theme</vt:lpstr>
      <vt:lpstr>boxi_talend_corporate_deck_2015</vt:lpstr>
      <vt:lpstr>think-cell Slide</vt:lpstr>
      <vt:lpstr>Incremental Load with Merge in Qlik Cloud</vt:lpstr>
      <vt:lpstr>In-app Merge</vt:lpstr>
      <vt:lpstr>The Merge prefix in the load script</vt:lpstr>
      <vt:lpstr>The Merge Only prefix in the load script</vt:lpstr>
      <vt:lpstr>QVD Merge</vt:lpstr>
      <vt:lpstr>The Merge prefix in the load script</vt:lpstr>
      <vt:lpstr>The Merge prefix in the load script</vt:lpstr>
      <vt:lpstr>Merge Demo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Gateway Direct Access</dc:title>
  <dc:subject/>
  <dc:creator>Giacomo Brioschi</dc:creator>
  <cp:keywords/>
  <dc:description/>
  <cp:lastModifiedBy>Alvaro Palacios</cp:lastModifiedBy>
  <cp:revision>9</cp:revision>
  <dcterms:created xsi:type="dcterms:W3CDTF">2024-01-29T16:21:17Z</dcterms:created>
  <dcterms:modified xsi:type="dcterms:W3CDTF">2024-03-28T11:51:3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F427728134D8E438DB24F119626A238</vt:lpwstr>
  </property>
</Properties>
</file>